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autoCompressPictures="0">
  <p:sldMasterIdLst>
    <p:sldMasterId id="2147485447" r:id="rId3"/>
    <p:sldMasterId id="2147485769" r:id="rId4"/>
    <p:sldMasterId id="2147485783" r:id="rId5"/>
  </p:sldMasterIdLst>
  <p:notesMasterIdLst>
    <p:notesMasterId r:id="rId22"/>
  </p:notesMasterIdLst>
  <p:handoutMasterIdLst>
    <p:handoutMasterId r:id="rId23"/>
  </p:handoutMasterIdLst>
  <p:sldIdLst>
    <p:sldId id="2147480129" r:id="rId6"/>
    <p:sldId id="2147480117" r:id="rId7"/>
    <p:sldId id="2147480130" r:id="rId8"/>
    <p:sldId id="2147480135" r:id="rId9"/>
    <p:sldId id="2147480131" r:id="rId10"/>
    <p:sldId id="2147480132" r:id="rId11"/>
    <p:sldId id="2147480134" r:id="rId12"/>
    <p:sldId id="2147480133" r:id="rId13"/>
    <p:sldId id="4553" r:id="rId14"/>
    <p:sldId id="550144596" r:id="rId15"/>
    <p:sldId id="382" r:id="rId16"/>
    <p:sldId id="266" r:id="rId17"/>
    <p:sldId id="2147480119" r:id="rId18"/>
    <p:sldId id="2147480126" r:id="rId19"/>
    <p:sldId id="2147480034" r:id="rId20"/>
    <p:sldId id="2147480035" r:id="rId21"/>
  </p:sldIdLst>
  <p:sldSz cx="12192000" cy="6858000"/>
  <p:notesSz cx="6858000" cy="9144000"/>
  <p:defaultTextStyle>
    <a:defPPr>
      <a:defRPr lang="en-US"/>
    </a:defPPr>
    <a:lvl1pPr marL="0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1pPr>
    <a:lvl2pPr marL="457183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2pPr>
    <a:lvl3pPr marL="914367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3pPr>
    <a:lvl4pPr marL="1371550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4pPr>
    <a:lvl5pPr marL="1828734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5pPr>
    <a:lvl6pPr marL="2285918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 slides" id="{6BEBC51B-B88B-4AE4-8478-0F95EE84F165}">
          <p14:sldIdLst>
            <p14:sldId id="2147480129"/>
          </p14:sldIdLst>
        </p14:section>
        <p14:section name="Agenda" id="{194114FB-11A9-460A-BA65-6CA85323C1BD}">
          <p14:sldIdLst>
            <p14:sldId id="2147480117"/>
            <p14:sldId id="2147480130"/>
            <p14:sldId id="2147480135"/>
            <p14:sldId id="2147480131"/>
            <p14:sldId id="2147480132"/>
            <p14:sldId id="2147480134"/>
            <p14:sldId id="2147480133"/>
            <p14:sldId id="4553"/>
            <p14:sldId id="550144596"/>
            <p14:sldId id="382"/>
            <p14:sldId id="266"/>
          </p14:sldIdLst>
        </p14:section>
        <p14:section name="10 - Closing slides" id="{1E7AC317-C1C3-BF4A-95B2-52EB01762F53}">
          <p14:sldIdLst>
            <p14:sldId id="2147480119"/>
          </p14:sldIdLst>
        </p14:section>
        <p14:section name="CTA" id="{9946D97F-7976-434D-A7C5-F41CEA3EA6FE}">
          <p14:sldIdLst>
            <p14:sldId id="2147480126"/>
          </p14:sldIdLst>
        </p14:section>
        <p14:section name="11 - Icons for use" id="{C2F20541-B464-B145-886A-A824BE6EDF45}">
          <p14:sldIdLst>
            <p14:sldId id="2147480034"/>
            <p14:sldId id="214748003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5" name="Author" initials="A" lastIdx="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522"/>
    <a:srgbClr val="FF7100"/>
    <a:srgbClr val="3B3B3A"/>
    <a:srgbClr val="FFA055"/>
    <a:srgbClr val="170C3F"/>
    <a:srgbClr val="7B17F8"/>
    <a:srgbClr val="B2A1E8"/>
    <a:srgbClr val="C914BA"/>
    <a:srgbClr val="B01EC5"/>
    <a:srgbClr val="403BD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BE2F95C-D8A6-4D12-B508-B4D101BD8F5C}" v="42" dt="2024-08-05T17:28:51.967"/>
    <p1510:client id="{C695FFCE-F515-44FF-806A-6BB29F2E52F4}" v="7" dt="2024-08-05T18:03:21.73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43" d="100"/>
          <a:sy n="143" d="100"/>
        </p:scale>
        <p:origin x="132" y="30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1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3.xml"/><Relationship Id="rId15" Type="http://schemas.openxmlformats.org/officeDocument/2006/relationships/slide" Target="slides/slide10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2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Relationship Id="rId30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0F9EC6-89FF-47E1-8594-1A32E3B45134}" type="datetime8">
              <a:rPr lang="en-US" smtClean="0">
                <a:latin typeface="Segoe UI" pitchFamily="34" charset="0"/>
              </a:rPr>
              <a:t>8/5/2024 10:57 AM</a:t>
            </a:fld>
            <a:endParaRPr lang="en-US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386CE63F-9E7F-4C04-9D0D-FCA25A8E9E86}" type="datetime8">
              <a:rPr lang="en-US" smtClean="0"/>
              <a:t>8/5/2024 10:56 AM</a:t>
            </a:fld>
            <a:endParaRPr lang="en-US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14367" rtl="0" eaLnBrk="1" latinLnBrk="0" hangingPunct="1">
      <a:lnSpc>
        <a:spcPct val="90000"/>
      </a:lnSpc>
      <a:spcAft>
        <a:spcPts val="333"/>
      </a:spcAft>
      <a:defRPr sz="882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1pPr>
    <a:lvl2pPr marL="212982" indent="-105829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2pPr>
    <a:lvl3pPr marL="328071" indent="-115090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3pPr>
    <a:lvl4pPr marL="482848" indent="-146838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4pPr>
    <a:lvl5pPr marL="615134" indent="-115090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5pPr>
    <a:lvl6pPr marL="2285918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3019A1-94FF-4EE3-817F-0E236D94A3C5}" type="slidenum">
              <a:rPr kumimoji="0" lang="id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id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15721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Скачки всех пакетов выросли достаточно крупно, вывод — люди перешли к активной работе/разработке после затишья в декабре-начале января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7E9255-D318-D347-8E9E-49CC09196A6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79829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8/5/2024 10:56 A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6736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9.png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6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8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4" Type="http://schemas.openxmlformats.org/officeDocument/2006/relationships/image" Target="../media/image3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31.emf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ag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A1A9C5EE-AD9B-C973-7EC3-E784E884F5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2171" y="2189877"/>
            <a:ext cx="6367270" cy="19236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ts val="7500"/>
              </a:lnSpc>
              <a:spcBef>
                <a:spcPct val="0"/>
              </a:spcBef>
              <a:buNone/>
              <a:defRPr lang="en-US" sz="6000" b="1" kern="1200" cap="none" spc="-300" baseline="0" dirty="0">
                <a:ln w="3175">
                  <a:noFill/>
                </a:ln>
                <a:solidFill>
                  <a:schemeClr val="tx2"/>
                </a:solidFill>
                <a:effectLst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962FB5EE-A7CB-45F1-0F33-06C38CDC6B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2171" y="4345640"/>
            <a:ext cx="5430837" cy="276999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1159839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-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ack and purple background&#10;&#10;Description automatically generated">
            <a:extLst>
              <a:ext uri="{FF2B5EF4-FFF2-40B4-BE49-F238E27FC236}">
                <a16:creationId xmlns:a16="http://schemas.microsoft.com/office/drawing/2014/main" id="{807741DB-618D-D627-2241-C72BED11CD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227"/>
            <a:ext cx="12199747" cy="4826390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A8E184E3-7039-2F3B-7052-3F8D7F797F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5754" y="3013501"/>
            <a:ext cx="11060491" cy="830997"/>
          </a:xfrm>
        </p:spPr>
        <p:txBody>
          <a:bodyPr anchor="ctr"/>
          <a:lstStyle>
            <a:lvl1pPr marL="0" algn="ctr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5400" b="1" kern="1200" cap="none" spc="0" baseline="0" dirty="0">
                <a:ln w="3175">
                  <a:noFill/>
                </a:ln>
                <a:gradFill flip="none" rotWithShape="1">
                  <a:gsLst>
                    <a:gs pos="100000">
                      <a:schemeClr val="accent2"/>
                    </a:gs>
                    <a:gs pos="17000">
                      <a:schemeClr val="accent1"/>
                    </a:gs>
                  </a:gsLst>
                  <a:lin ang="4200000" scaled="0"/>
                  <a:tileRect/>
                </a:gradFill>
                <a:effectLst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r>
              <a:rPr lang="en-US"/>
              <a:t>Lorem ipsum dolor sit</a:t>
            </a:r>
          </a:p>
        </p:txBody>
      </p:sp>
    </p:spTree>
    <p:extLst>
      <p:ext uri="{BB962C8B-B14F-4D97-AF65-F5344CB8AC3E}">
        <p14:creationId xmlns:p14="http://schemas.microsoft.com/office/powerpoint/2010/main" val="15564874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311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  <p15:guide id="7" orient="horz" pos="905">
          <p15:clr>
            <a:srgbClr val="5ACBF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/text/chart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B29AF48-CA3C-F1DD-23AC-7CADEED51B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5487" y="3429000"/>
            <a:ext cx="6840109" cy="3429000"/>
          </a:xfrm>
          <a:prstGeom prst="rect">
            <a:avLst/>
          </a:prstGeom>
        </p:spPr>
      </p:pic>
      <p:pic>
        <p:nvPicPr>
          <p:cNvPr id="6" name="Picture 5" descr="A black circle with a dark background&#10;&#10;Description automatically generated with medium confidence">
            <a:extLst>
              <a:ext uri="{FF2B5EF4-FFF2-40B4-BE49-F238E27FC236}">
                <a16:creationId xmlns:a16="http://schemas.microsoft.com/office/drawing/2014/main" id="{708C264F-6109-408C-6F9F-6C7DFC8E4E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43564" y="0"/>
            <a:ext cx="4448436" cy="3840658"/>
          </a:xfrm>
          <a:prstGeom prst="rect">
            <a:avLst/>
          </a:prstGeom>
        </p:spPr>
      </p:pic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8DE6E0F4-EB1B-1087-9A06-05AA9348E9D7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5238627" y="2597286"/>
            <a:ext cx="6380674" cy="1569765"/>
          </a:xfrm>
        </p:spPr>
        <p:txBody>
          <a:bodyPr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7651C1F6-DEB0-AFDF-C4BB-AA31BE8D3D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010" y="2365565"/>
            <a:ext cx="4158362" cy="1239996"/>
          </a:xfrm>
        </p:spPr>
        <p:txBody>
          <a:bodyPr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 amet 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C42DB2F-8FFD-F6F8-DED6-9DBA7862C5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2699" y="3838520"/>
            <a:ext cx="3946208" cy="553998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Donec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,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, non </a:t>
            </a:r>
            <a:r>
              <a:rPr lang="en-US" err="1"/>
              <a:t>commodo</a:t>
            </a:r>
            <a:r>
              <a:rPr lang="en-US"/>
              <a:t> dui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diam.</a:t>
            </a:r>
          </a:p>
        </p:txBody>
      </p:sp>
    </p:spTree>
    <p:extLst>
      <p:ext uri="{BB962C8B-B14F-4D97-AF65-F5344CB8AC3E}">
        <p14:creationId xmlns:p14="http://schemas.microsoft.com/office/powerpoint/2010/main" val="204533986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29" orient="horz" pos="2160">
          <p15:clr>
            <a:srgbClr val="5ACBF0"/>
          </p15:clr>
        </p15:guide>
        <p15:guide id="30" pos="2376">
          <p15:clr>
            <a:srgbClr val="5ACBF0"/>
          </p15:clr>
        </p15:guide>
        <p15:guide id="31" pos="3113">
          <p15:clr>
            <a:srgbClr val="5ACBF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ered Title/text/chart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922E445-F830-57CB-956C-A9671F038E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5487" y="3429000"/>
            <a:ext cx="6840109" cy="3429000"/>
          </a:xfrm>
          <a:prstGeom prst="rect">
            <a:avLst/>
          </a:prstGeom>
        </p:spPr>
      </p:pic>
      <p:pic>
        <p:nvPicPr>
          <p:cNvPr id="10" name="Picture 9" descr="A black circle with a dark background&#10;&#10;Description automatically generated with medium confidence">
            <a:extLst>
              <a:ext uri="{FF2B5EF4-FFF2-40B4-BE49-F238E27FC236}">
                <a16:creationId xmlns:a16="http://schemas.microsoft.com/office/drawing/2014/main" id="{94F03461-57ED-BBAC-5B18-EB9FBE3E58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43564" y="0"/>
            <a:ext cx="4448436" cy="3840658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FE601496-DC71-36E8-19DE-911D4632C0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5764" y="422028"/>
            <a:ext cx="11018520" cy="615553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" name="Chart Placeholder 6">
            <a:extLst>
              <a:ext uri="{FF2B5EF4-FFF2-40B4-BE49-F238E27FC236}">
                <a16:creationId xmlns:a16="http://schemas.microsoft.com/office/drawing/2014/main" id="{392A398C-8712-6E39-6EEA-7710EB9C5417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1512498" y="2182664"/>
            <a:ext cx="9172754" cy="3577086"/>
          </a:xfrm>
        </p:spPr>
        <p:txBody>
          <a:bodyPr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D2D5F456-EAC5-42C5-2BDB-0C5DF3D86B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46273" y="1220473"/>
            <a:ext cx="7297503" cy="184666"/>
          </a:xfrm>
        </p:spPr>
        <p:txBody>
          <a:bodyPr/>
          <a:lstStyle>
            <a:lvl1pPr marL="0" indent="0" algn="ctr"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.</a:t>
            </a:r>
          </a:p>
        </p:txBody>
      </p:sp>
    </p:spTree>
    <p:extLst>
      <p:ext uri="{BB962C8B-B14F-4D97-AF65-F5344CB8AC3E}">
        <p14:creationId xmlns:p14="http://schemas.microsoft.com/office/powerpoint/2010/main" val="222439428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xt box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A9187A4-4424-2670-DEC4-72A61846C4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285280"/>
            <a:ext cx="5552854" cy="2572720"/>
          </a:xfrm>
          <a:prstGeom prst="rect">
            <a:avLst/>
          </a:prstGeom>
        </p:spPr>
      </p:pic>
      <p:pic>
        <p:nvPicPr>
          <p:cNvPr id="14" name="Picture 13" descr="A black circle with a dark background&#10;&#10;Description automatically generated with medium confidence">
            <a:extLst>
              <a:ext uri="{FF2B5EF4-FFF2-40B4-BE49-F238E27FC236}">
                <a16:creationId xmlns:a16="http://schemas.microsoft.com/office/drawing/2014/main" id="{6D8EDA1A-CBAD-C573-B4F6-059BD8AE09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43564" y="0"/>
            <a:ext cx="4448436" cy="3840658"/>
          </a:xfrm>
          <a:prstGeom prst="rect">
            <a:avLst/>
          </a:prstGeom>
        </p:spPr>
      </p:pic>
      <p:sp>
        <p:nvSpPr>
          <p:cNvPr id="13" name="Rounded Rectangle 2">
            <a:extLst>
              <a:ext uri="{FF2B5EF4-FFF2-40B4-BE49-F238E27FC236}">
                <a16:creationId xmlns:a16="http://schemas.microsoft.com/office/drawing/2014/main" id="{93A2487A-61B8-8A04-2A52-5B6E14A911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4664943" y="2021293"/>
            <a:ext cx="2847373" cy="1678489"/>
          </a:xfrm>
          <a:prstGeom prst="roundRect">
            <a:avLst>
              <a:gd name="adj" fmla="val 1979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31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254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18" name="Rounded Rectangle 2">
            <a:extLst>
              <a:ext uri="{FF2B5EF4-FFF2-40B4-BE49-F238E27FC236}">
                <a16:creationId xmlns:a16="http://schemas.microsoft.com/office/drawing/2014/main" id="{AD8ABAB2-DD91-C853-74F0-0B65B0F3B3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7940198" y="2021293"/>
            <a:ext cx="2847373" cy="1678489"/>
          </a:xfrm>
          <a:prstGeom prst="roundRect">
            <a:avLst>
              <a:gd name="adj" fmla="val 1979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31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254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2" name="Rounded Rectangle 2">
            <a:extLst>
              <a:ext uri="{FF2B5EF4-FFF2-40B4-BE49-F238E27FC236}">
                <a16:creationId xmlns:a16="http://schemas.microsoft.com/office/drawing/2014/main" id="{2471DCD8-0AF4-55E9-8906-F303CB9252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1412077" y="2021293"/>
            <a:ext cx="2847373" cy="1678489"/>
          </a:xfrm>
          <a:prstGeom prst="roundRect">
            <a:avLst>
              <a:gd name="adj" fmla="val 1979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31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254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9E46301-3A68-CC3E-45CC-818C41F5832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7322" y="2333546"/>
            <a:ext cx="2313432" cy="27699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452D3C7-8D3A-02FB-B0BD-F6001AB5B9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937322" y="2850440"/>
            <a:ext cx="2313432" cy="553998"/>
          </a:xfrm>
        </p:spPr>
        <p:txBody>
          <a:bodyPr wrap="square">
            <a:spAutoFit/>
          </a:bodyPr>
          <a:lstStyle>
            <a:lvl1pPr marL="0" indent="0" algn="ctr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E7138CD8-E499-9097-E3EA-61E74A7E87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0960" y="980708"/>
            <a:ext cx="11050081" cy="615553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7F99E1BF-51F0-4EC3-CD9D-ED044CAC3B5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679049" y="2333546"/>
            <a:ext cx="2313432" cy="27699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82682BD-18B9-5E6A-7AA9-E0C27B03CB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679049" y="2850440"/>
            <a:ext cx="2313432" cy="553998"/>
          </a:xfrm>
        </p:spPr>
        <p:txBody>
          <a:bodyPr wrap="square">
            <a:spAutoFit/>
          </a:bodyPr>
          <a:lstStyle>
            <a:lvl1pPr marL="0" indent="0" algn="ctr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endParaRPr lang="en-US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F8138A40-A739-B853-C2A9-1FAD12A6823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07169" y="2333546"/>
            <a:ext cx="2313432" cy="27699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6F045CF5-1BA7-6F69-AE98-20AF4367E09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07169" y="2850440"/>
            <a:ext cx="2313432" cy="553998"/>
          </a:xfrm>
        </p:spPr>
        <p:txBody>
          <a:bodyPr wrap="square">
            <a:spAutoFit/>
          </a:bodyPr>
          <a:lstStyle>
            <a:lvl1pPr marL="0" indent="0" algn="ctr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endParaRPr lang="en-US"/>
          </a:p>
        </p:txBody>
      </p:sp>
      <p:sp>
        <p:nvSpPr>
          <p:cNvPr id="6" name="Rounded Rectangle 2">
            <a:extLst>
              <a:ext uri="{FF2B5EF4-FFF2-40B4-BE49-F238E27FC236}">
                <a16:creationId xmlns:a16="http://schemas.microsoft.com/office/drawing/2014/main" id="{FB048452-F623-8515-9B3D-63A2EF18B4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4664943" y="4074819"/>
            <a:ext cx="2847373" cy="1678489"/>
          </a:xfrm>
          <a:prstGeom prst="roundRect">
            <a:avLst>
              <a:gd name="adj" fmla="val 1979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31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254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10" name="Rounded Rectangle 2">
            <a:extLst>
              <a:ext uri="{FF2B5EF4-FFF2-40B4-BE49-F238E27FC236}">
                <a16:creationId xmlns:a16="http://schemas.microsoft.com/office/drawing/2014/main" id="{572E8352-2A80-FDBE-000C-46BC42B305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7940198" y="4074819"/>
            <a:ext cx="2847373" cy="1678489"/>
          </a:xfrm>
          <a:prstGeom prst="roundRect">
            <a:avLst>
              <a:gd name="adj" fmla="val 1979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31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254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12" name="Rounded Rectangle 2">
            <a:extLst>
              <a:ext uri="{FF2B5EF4-FFF2-40B4-BE49-F238E27FC236}">
                <a16:creationId xmlns:a16="http://schemas.microsoft.com/office/drawing/2014/main" id="{C1617C4F-8B9E-8145-E9FA-097AF0B122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1412077" y="4074819"/>
            <a:ext cx="2847373" cy="1678489"/>
          </a:xfrm>
          <a:prstGeom prst="roundRect">
            <a:avLst>
              <a:gd name="adj" fmla="val 1979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31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254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E840DA7-AD9B-E37B-225D-705F520C867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37322" y="4387072"/>
            <a:ext cx="2313432" cy="27699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328F21D0-80AE-A8D0-E187-931FA8906BE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937322" y="4903966"/>
            <a:ext cx="2313432" cy="553998"/>
          </a:xfrm>
        </p:spPr>
        <p:txBody>
          <a:bodyPr wrap="square">
            <a:spAutoFit/>
          </a:bodyPr>
          <a:lstStyle>
            <a:lvl1pPr marL="0" indent="0" algn="ctr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endParaRPr lang="en-US"/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D3148076-2D97-33A6-7B7B-756B03619E8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679049" y="4387072"/>
            <a:ext cx="2313432" cy="27699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AF54FE40-BF22-A040-5C43-C03E17F6DBA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679049" y="4903966"/>
            <a:ext cx="2313432" cy="553998"/>
          </a:xfrm>
        </p:spPr>
        <p:txBody>
          <a:bodyPr wrap="square">
            <a:spAutoFit/>
          </a:bodyPr>
          <a:lstStyle>
            <a:lvl1pPr marL="0" indent="0" algn="ctr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endParaRPr lang="en-US"/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1F719C13-71D5-A7D5-A9D8-0570B1AB90F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207169" y="4387072"/>
            <a:ext cx="2313432" cy="27699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5687D2D2-469C-F6C9-213C-4CC5A831C12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207169" y="4903966"/>
            <a:ext cx="2313432" cy="553998"/>
          </a:xfrm>
        </p:spPr>
        <p:txBody>
          <a:bodyPr wrap="square">
            <a:spAutoFit/>
          </a:bodyPr>
          <a:lstStyle>
            <a:lvl1pPr marL="0" indent="0" algn="ctr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1634521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 box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123F750-71ED-4DFF-FB71-B66298E859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285280"/>
            <a:ext cx="5552854" cy="2572720"/>
          </a:xfrm>
          <a:prstGeom prst="rect">
            <a:avLst/>
          </a:prstGeom>
        </p:spPr>
      </p:pic>
      <p:pic>
        <p:nvPicPr>
          <p:cNvPr id="7" name="Picture 6" descr="A black circle with a dark background&#10;&#10;Description automatically generated with medium confidence">
            <a:extLst>
              <a:ext uri="{FF2B5EF4-FFF2-40B4-BE49-F238E27FC236}">
                <a16:creationId xmlns:a16="http://schemas.microsoft.com/office/drawing/2014/main" id="{108D6EFA-9DAC-D1F0-55ED-9949D16A9F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43564" y="0"/>
            <a:ext cx="4448436" cy="3840658"/>
          </a:xfrm>
          <a:prstGeom prst="rect">
            <a:avLst/>
          </a:prstGeom>
        </p:spPr>
      </p:pic>
      <p:sp>
        <p:nvSpPr>
          <p:cNvPr id="13" name="Rounded Rectangle 2">
            <a:extLst>
              <a:ext uri="{FF2B5EF4-FFF2-40B4-BE49-F238E27FC236}">
                <a16:creationId xmlns:a16="http://schemas.microsoft.com/office/drawing/2014/main" id="{93A2487A-61B8-8A04-2A52-5B6E14A911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4382468" y="2385503"/>
            <a:ext cx="3427063" cy="3011342"/>
          </a:xfrm>
          <a:prstGeom prst="roundRect">
            <a:avLst>
              <a:gd name="adj" fmla="val 1979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27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254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9E46301-3A68-CC3E-45CC-818C41F5832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38469" y="2697756"/>
            <a:ext cx="2915060" cy="55399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 b="1">
                <a:gradFill>
                  <a:gsLst>
                    <a:gs pos="38000">
                      <a:schemeClr val="accent1"/>
                    </a:gs>
                    <a:gs pos="100000">
                      <a:schemeClr val="accent2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 </a:t>
            </a:r>
            <a:br>
              <a:rPr lang="en-US"/>
            </a:br>
            <a:r>
              <a:rPr lang="en-US"/>
              <a:t>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turpis</a:t>
            </a:r>
            <a:endParaRPr lang="en-US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452D3C7-8D3A-02FB-B0BD-F6001AB5B9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38469" y="3454284"/>
            <a:ext cx="2915060" cy="1661993"/>
          </a:xfrm>
        </p:spPr>
        <p:txBody>
          <a:bodyPr wrap="square">
            <a:spAutoFit/>
          </a:bodyPr>
          <a:lstStyle>
            <a:lvl1pPr marL="0" indent="0" algn="ctr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Donec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,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, non </a:t>
            </a:r>
            <a:r>
              <a:rPr lang="en-US" err="1"/>
              <a:t>commodo</a:t>
            </a:r>
            <a:r>
              <a:rPr lang="en-US"/>
              <a:t> dui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diam. </a:t>
            </a:r>
            <a:r>
              <a:rPr lang="en-US" err="1"/>
              <a:t>Nullam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rhoncus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ac </a:t>
            </a:r>
            <a:r>
              <a:rPr lang="en-US" err="1"/>
              <a:t>feugiat</a:t>
            </a:r>
            <a:r>
              <a:rPr lang="en-US"/>
              <a:t>. Maecenas ac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placerat</a:t>
            </a:r>
            <a:r>
              <a:rPr lang="en-US"/>
              <a:t> eros </a:t>
            </a:r>
            <a:r>
              <a:rPr lang="en-US" err="1"/>
              <a:t>quis</a:t>
            </a:r>
            <a:r>
              <a:rPr lang="en-US"/>
              <a:t>, </a:t>
            </a:r>
            <a:r>
              <a:rPr lang="en-US" err="1"/>
              <a:t>viverra</a:t>
            </a:r>
            <a:r>
              <a:rPr lang="en-US"/>
              <a:t> ante. </a:t>
            </a:r>
            <a:r>
              <a:rPr lang="en-US" err="1"/>
              <a:t>Aliquam</a:t>
            </a:r>
            <a:r>
              <a:rPr lang="en-US"/>
              <a:t> id </a:t>
            </a:r>
            <a:r>
              <a:rPr lang="en-US" err="1"/>
              <a:t>sagittis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at </a:t>
            </a:r>
            <a:r>
              <a:rPr lang="en-US" err="1"/>
              <a:t>placerat</a:t>
            </a:r>
            <a:r>
              <a:rPr lang="en-US"/>
              <a:t> </a:t>
            </a:r>
            <a:r>
              <a:rPr lang="en-US" err="1"/>
              <a:t>lacus</a:t>
            </a:r>
            <a:r>
              <a:rPr lang="en-US"/>
              <a:t>, non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.</a:t>
            </a:r>
          </a:p>
        </p:txBody>
      </p:sp>
      <p:sp>
        <p:nvSpPr>
          <p:cNvPr id="28" name="Rounded Rectangle 2">
            <a:extLst>
              <a:ext uri="{FF2B5EF4-FFF2-40B4-BE49-F238E27FC236}">
                <a16:creationId xmlns:a16="http://schemas.microsoft.com/office/drawing/2014/main" id="{0B210A1E-5884-FEB6-332E-7C23EB5D15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8179553" y="2385503"/>
            <a:ext cx="3427063" cy="3011342"/>
          </a:xfrm>
          <a:prstGeom prst="roundRect">
            <a:avLst>
              <a:gd name="adj" fmla="val 1979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27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254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1FAC3CD8-8269-8023-D44F-BC9EA2CD669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435554" y="2697756"/>
            <a:ext cx="2915060" cy="55399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 b="1">
                <a:gradFill>
                  <a:gsLst>
                    <a:gs pos="38000">
                      <a:schemeClr val="accent1"/>
                    </a:gs>
                    <a:gs pos="100000">
                      <a:schemeClr val="accent2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 </a:t>
            </a:r>
            <a:br>
              <a:rPr lang="en-US"/>
            </a:br>
            <a:r>
              <a:rPr lang="en-US"/>
              <a:t>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turpis</a:t>
            </a:r>
            <a:endParaRPr lang="en-US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3CD58979-FBCF-212D-BA47-E3B2FAF4A6B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435554" y="3454284"/>
            <a:ext cx="2915060" cy="1661993"/>
          </a:xfrm>
        </p:spPr>
        <p:txBody>
          <a:bodyPr wrap="square">
            <a:spAutoFit/>
          </a:bodyPr>
          <a:lstStyle>
            <a:lvl1pPr marL="0" indent="0" algn="ctr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Donec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,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, non </a:t>
            </a:r>
            <a:r>
              <a:rPr lang="en-US" err="1"/>
              <a:t>commodo</a:t>
            </a:r>
            <a:r>
              <a:rPr lang="en-US"/>
              <a:t> dui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diam. </a:t>
            </a:r>
            <a:r>
              <a:rPr lang="en-US" err="1"/>
              <a:t>Nullam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rhoncus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ac </a:t>
            </a:r>
            <a:r>
              <a:rPr lang="en-US" err="1"/>
              <a:t>feugiat</a:t>
            </a:r>
            <a:r>
              <a:rPr lang="en-US"/>
              <a:t>. Maecenas ac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placerat</a:t>
            </a:r>
            <a:r>
              <a:rPr lang="en-US"/>
              <a:t> eros </a:t>
            </a:r>
            <a:r>
              <a:rPr lang="en-US" err="1"/>
              <a:t>quis</a:t>
            </a:r>
            <a:r>
              <a:rPr lang="en-US"/>
              <a:t>, </a:t>
            </a:r>
            <a:r>
              <a:rPr lang="en-US" err="1"/>
              <a:t>viverra</a:t>
            </a:r>
            <a:r>
              <a:rPr lang="en-US"/>
              <a:t> ante. </a:t>
            </a:r>
            <a:r>
              <a:rPr lang="en-US" err="1"/>
              <a:t>Aliquam</a:t>
            </a:r>
            <a:r>
              <a:rPr lang="en-US"/>
              <a:t> id </a:t>
            </a:r>
            <a:r>
              <a:rPr lang="en-US" err="1"/>
              <a:t>sagittis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at </a:t>
            </a:r>
            <a:r>
              <a:rPr lang="en-US" err="1"/>
              <a:t>placerat</a:t>
            </a:r>
            <a:r>
              <a:rPr lang="en-US"/>
              <a:t> </a:t>
            </a:r>
            <a:r>
              <a:rPr lang="en-US" err="1"/>
              <a:t>lacus</a:t>
            </a:r>
            <a:r>
              <a:rPr lang="en-US"/>
              <a:t>, non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.</a:t>
            </a:r>
          </a:p>
        </p:txBody>
      </p:sp>
      <p:sp>
        <p:nvSpPr>
          <p:cNvPr id="31" name="Rounded Rectangle 2">
            <a:extLst>
              <a:ext uri="{FF2B5EF4-FFF2-40B4-BE49-F238E27FC236}">
                <a16:creationId xmlns:a16="http://schemas.microsoft.com/office/drawing/2014/main" id="{519417E7-4330-CE2A-C018-004C40CC33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585383" y="2385503"/>
            <a:ext cx="3427063" cy="3011342"/>
          </a:xfrm>
          <a:prstGeom prst="roundRect">
            <a:avLst>
              <a:gd name="adj" fmla="val 1979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27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254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5E2A7BED-F7CE-714D-7143-539BB91323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41384" y="2697756"/>
            <a:ext cx="2915060" cy="55399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 b="1">
                <a:gradFill>
                  <a:gsLst>
                    <a:gs pos="38000">
                      <a:schemeClr val="accent1"/>
                    </a:gs>
                    <a:gs pos="100000">
                      <a:schemeClr val="accent2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 </a:t>
            </a:r>
            <a:br>
              <a:rPr lang="en-US"/>
            </a:br>
            <a:r>
              <a:rPr lang="en-US"/>
              <a:t>sit amet turpis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3E1326CB-6240-432C-D815-FFE2FC75213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1384" y="3454284"/>
            <a:ext cx="2915060" cy="1661993"/>
          </a:xfrm>
        </p:spPr>
        <p:txBody>
          <a:bodyPr wrap="square">
            <a:spAutoFit/>
          </a:bodyPr>
          <a:lstStyle>
            <a:lvl1pPr marL="0" indent="0" algn="ctr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Donec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,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, non </a:t>
            </a:r>
            <a:r>
              <a:rPr lang="en-US" err="1"/>
              <a:t>commodo</a:t>
            </a:r>
            <a:r>
              <a:rPr lang="en-US"/>
              <a:t> dui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diam. </a:t>
            </a:r>
            <a:r>
              <a:rPr lang="en-US" err="1"/>
              <a:t>Nullam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rhoncus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ac </a:t>
            </a:r>
            <a:r>
              <a:rPr lang="en-US" err="1"/>
              <a:t>feugiat</a:t>
            </a:r>
            <a:r>
              <a:rPr lang="en-US"/>
              <a:t>. Maecenas ac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placerat</a:t>
            </a:r>
            <a:r>
              <a:rPr lang="en-US"/>
              <a:t> eros </a:t>
            </a:r>
            <a:r>
              <a:rPr lang="en-US" err="1"/>
              <a:t>quis</a:t>
            </a:r>
            <a:r>
              <a:rPr lang="en-US"/>
              <a:t>, </a:t>
            </a:r>
            <a:r>
              <a:rPr lang="en-US" err="1"/>
              <a:t>viverra</a:t>
            </a:r>
            <a:r>
              <a:rPr lang="en-US"/>
              <a:t> ante. </a:t>
            </a:r>
            <a:r>
              <a:rPr lang="en-US" err="1"/>
              <a:t>Aliquam</a:t>
            </a:r>
            <a:r>
              <a:rPr lang="en-US"/>
              <a:t> id </a:t>
            </a:r>
            <a:r>
              <a:rPr lang="en-US" err="1"/>
              <a:t>sagittis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at </a:t>
            </a:r>
            <a:r>
              <a:rPr lang="en-US" err="1"/>
              <a:t>placerat</a:t>
            </a:r>
            <a:r>
              <a:rPr lang="en-US"/>
              <a:t> </a:t>
            </a:r>
            <a:r>
              <a:rPr lang="en-US" err="1"/>
              <a:t>lacus</a:t>
            </a:r>
            <a:r>
              <a:rPr lang="en-US"/>
              <a:t>, non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BB09A5F-2054-3689-C15B-2605B58867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0960" y="980708"/>
            <a:ext cx="11050081" cy="615553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1204613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aragraph -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AC809D2-B829-7B00-FB59-EE8E0B2277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5487" y="3438427"/>
            <a:ext cx="6840109" cy="3429000"/>
          </a:xfrm>
          <a:prstGeom prst="rect">
            <a:avLst/>
          </a:prstGeom>
        </p:spPr>
      </p:pic>
      <p:pic>
        <p:nvPicPr>
          <p:cNvPr id="5" name="Picture 4" descr="A black circle with a dark background&#10;&#10;Description automatically generated with medium confidence">
            <a:extLst>
              <a:ext uri="{FF2B5EF4-FFF2-40B4-BE49-F238E27FC236}">
                <a16:creationId xmlns:a16="http://schemas.microsoft.com/office/drawing/2014/main" id="{DB66E6E7-CE63-2558-3E07-917AA2D04D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52991" y="0"/>
            <a:ext cx="4448436" cy="3840658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70FEC1AA-5301-D109-7757-3C8F28BF76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90154" y="2056480"/>
            <a:ext cx="4622646" cy="122835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 amet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F799C7F5-7F21-7BAC-43ED-755B319581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90153" y="3524149"/>
            <a:ext cx="4622647" cy="1107996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Donec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,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, non </a:t>
            </a:r>
            <a:r>
              <a:rPr lang="en-US" err="1"/>
              <a:t>commodo</a:t>
            </a:r>
            <a:r>
              <a:rPr lang="en-US"/>
              <a:t> dui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diam. </a:t>
            </a:r>
            <a:r>
              <a:rPr lang="en-US" err="1"/>
              <a:t>Nullam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rhoncus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ac </a:t>
            </a:r>
            <a:r>
              <a:rPr lang="en-US" err="1"/>
              <a:t>feugiat</a:t>
            </a:r>
            <a:r>
              <a:rPr lang="en-US"/>
              <a:t>. Maecenas ac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placerat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 eros </a:t>
            </a:r>
            <a:r>
              <a:rPr lang="en-US" err="1"/>
              <a:t>quis</a:t>
            </a:r>
            <a:r>
              <a:rPr lang="en-US"/>
              <a:t>, </a:t>
            </a:r>
            <a:r>
              <a:rPr lang="en-US" err="1"/>
              <a:t>viverra</a:t>
            </a:r>
            <a:r>
              <a:rPr lang="en-US"/>
              <a:t> ante. </a:t>
            </a:r>
            <a:r>
              <a:rPr lang="en-US" err="1"/>
              <a:t>Aliquam</a:t>
            </a:r>
            <a:r>
              <a:rPr lang="en-US"/>
              <a:t> id </a:t>
            </a:r>
            <a:r>
              <a:rPr lang="en-US" err="1"/>
              <a:t>sagittis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at </a:t>
            </a:r>
            <a:r>
              <a:rPr lang="en-US" err="1"/>
              <a:t>placerat</a:t>
            </a:r>
            <a:r>
              <a:rPr lang="en-US"/>
              <a:t> </a:t>
            </a:r>
            <a:r>
              <a:rPr lang="en-US" err="1"/>
              <a:t>lacus</a:t>
            </a:r>
            <a:r>
              <a:rPr lang="en-US"/>
              <a:t>, non </a:t>
            </a:r>
            <a:r>
              <a:rPr lang="en-US" err="1"/>
              <a:t>hendrerit</a:t>
            </a:r>
            <a:r>
              <a:rPr lang="en-US"/>
              <a:t>.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B734B0B-B17D-F12A-60AC-93C306D4A51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66"/>
            <a:ext cx="3420035" cy="6857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6789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 paragraph -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59BE63B-0D5B-FCEF-9D18-A0FAA75F41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5487" y="3429000"/>
            <a:ext cx="6840109" cy="3429000"/>
          </a:xfrm>
          <a:prstGeom prst="rect">
            <a:avLst/>
          </a:prstGeom>
        </p:spPr>
      </p:pic>
      <p:pic>
        <p:nvPicPr>
          <p:cNvPr id="6" name="Picture 5" descr="A black circle with a dark background&#10;&#10;Description automatically generated with medium confidence">
            <a:extLst>
              <a:ext uri="{FF2B5EF4-FFF2-40B4-BE49-F238E27FC236}">
                <a16:creationId xmlns:a16="http://schemas.microsoft.com/office/drawing/2014/main" id="{1F083FE2-5294-93FA-DEB1-2930F5F838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43564" y="0"/>
            <a:ext cx="4448436" cy="3840658"/>
          </a:xfrm>
          <a:prstGeom prst="rect">
            <a:avLst/>
          </a:prstGeom>
        </p:spPr>
      </p:pic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D9703153-ED30-4A13-919C-A650208DA09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0676" y="1348900"/>
            <a:ext cx="4609123" cy="276999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800" b="1">
                <a:gradFill>
                  <a:gsLst>
                    <a:gs pos="100000">
                      <a:schemeClr val="accent2"/>
                    </a:gs>
                    <a:gs pos="30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0FEC1AA-5301-D109-7757-3C8F28BF76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0676" y="422028"/>
            <a:ext cx="11018520" cy="61555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F799C7F5-7F21-7BAC-43ED-755B319581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0676" y="1856262"/>
            <a:ext cx="4622647" cy="1107996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Donec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,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, non </a:t>
            </a:r>
            <a:r>
              <a:rPr lang="en-US" err="1"/>
              <a:t>commodo</a:t>
            </a:r>
            <a:r>
              <a:rPr lang="en-US"/>
              <a:t> dui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diam. </a:t>
            </a:r>
            <a:r>
              <a:rPr lang="en-US" err="1"/>
              <a:t>Nullam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rhoncus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ac </a:t>
            </a:r>
            <a:r>
              <a:rPr lang="en-US" err="1"/>
              <a:t>feugiat</a:t>
            </a:r>
            <a:r>
              <a:rPr lang="en-US"/>
              <a:t>. Maecenas ac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placerat</a:t>
            </a:r>
            <a:r>
              <a:rPr lang="en-US"/>
              <a:t> eros </a:t>
            </a:r>
            <a:r>
              <a:rPr lang="en-US" err="1"/>
              <a:t>quis</a:t>
            </a:r>
            <a:r>
              <a:rPr lang="en-US"/>
              <a:t>, </a:t>
            </a:r>
            <a:r>
              <a:rPr lang="en-US" err="1"/>
              <a:t>viverra</a:t>
            </a:r>
            <a:r>
              <a:rPr lang="en-US"/>
              <a:t> ante. </a:t>
            </a:r>
            <a:r>
              <a:rPr lang="en-US" err="1"/>
              <a:t>Aliquam</a:t>
            </a:r>
            <a:r>
              <a:rPr lang="en-US"/>
              <a:t> id </a:t>
            </a:r>
            <a:r>
              <a:rPr lang="en-US" err="1"/>
              <a:t>sagittis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at </a:t>
            </a:r>
            <a:r>
              <a:rPr lang="en-US" err="1"/>
              <a:t>placerat</a:t>
            </a:r>
            <a:r>
              <a:rPr lang="en-US"/>
              <a:t> </a:t>
            </a:r>
            <a:r>
              <a:rPr lang="en-US" err="1"/>
              <a:t>lacus</a:t>
            </a:r>
            <a:r>
              <a:rPr lang="en-US"/>
              <a:t>, non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0072055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 paragraph -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urple ball and a purple arrow&#10;&#10;Description automatically generated">
            <a:extLst>
              <a:ext uri="{FF2B5EF4-FFF2-40B4-BE49-F238E27FC236}">
                <a16:creationId xmlns:a16="http://schemas.microsoft.com/office/drawing/2014/main" id="{2592AE2A-F199-2824-DF37-915B495401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39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3" descr="A close-up of a purple and black background&#10;&#10;Description automatically generated">
            <a:extLst>
              <a:ext uri="{FF2B5EF4-FFF2-40B4-BE49-F238E27FC236}">
                <a16:creationId xmlns:a16="http://schemas.microsoft.com/office/drawing/2014/main" id="{D1A79AC7-FBA5-7297-749D-8CBBF060D6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7393132" cy="6858000"/>
          </a:xfrm>
          <a:prstGeom prst="rect">
            <a:avLst/>
          </a:prstGeom>
        </p:spPr>
      </p:pic>
      <p:pic>
        <p:nvPicPr>
          <p:cNvPr id="12" name="Picture 11" descr="A purple arrow pointing to a purple ball&#10;&#10;Description automatically generated">
            <a:extLst>
              <a:ext uri="{FF2B5EF4-FFF2-40B4-BE49-F238E27FC236}">
                <a16:creationId xmlns:a16="http://schemas.microsoft.com/office/drawing/2014/main" id="{7A43EBE6-F024-22EC-93C3-5542E742FB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602"/>
          <a:stretch/>
        </p:blipFill>
        <p:spPr>
          <a:xfrm>
            <a:off x="-7168" y="1048"/>
            <a:ext cx="12126919" cy="6821392"/>
          </a:xfrm>
          <a:prstGeom prst="rect">
            <a:avLst/>
          </a:prstGeom>
        </p:spPr>
      </p:pic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3E3797E6-424E-E4F3-E060-DE50009F1A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33111" y="3187362"/>
            <a:ext cx="4609123" cy="276999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800" b="1">
                <a:gradFill>
                  <a:gsLst>
                    <a:gs pos="100000">
                      <a:schemeClr val="accent2"/>
                    </a:gs>
                    <a:gs pos="43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79878C8-780C-6CE7-3371-9E1D884200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33111" y="2260490"/>
            <a:ext cx="4622646" cy="61555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0E405ED-524A-110A-C09E-BB64EABB8D9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3111" y="3694724"/>
            <a:ext cx="4622647" cy="1107996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Donec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,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, non </a:t>
            </a:r>
            <a:r>
              <a:rPr lang="en-US" err="1"/>
              <a:t>commodo</a:t>
            </a:r>
            <a:r>
              <a:rPr lang="en-US"/>
              <a:t> dui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diam. </a:t>
            </a:r>
            <a:r>
              <a:rPr lang="en-US" err="1"/>
              <a:t>Nullam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rhoncus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ac </a:t>
            </a:r>
            <a:r>
              <a:rPr lang="en-US" err="1"/>
              <a:t>feugiat</a:t>
            </a:r>
            <a:r>
              <a:rPr lang="en-US"/>
              <a:t>. Maecenas ac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placerat</a:t>
            </a:r>
            <a:r>
              <a:rPr lang="en-US"/>
              <a:t> eros </a:t>
            </a:r>
            <a:r>
              <a:rPr lang="en-US" err="1"/>
              <a:t>quis</a:t>
            </a:r>
            <a:r>
              <a:rPr lang="en-US"/>
              <a:t>, </a:t>
            </a:r>
            <a:r>
              <a:rPr lang="en-US" err="1"/>
              <a:t>viverra</a:t>
            </a:r>
            <a:r>
              <a:rPr lang="en-US"/>
              <a:t> ante. </a:t>
            </a:r>
            <a:r>
              <a:rPr lang="en-US" err="1"/>
              <a:t>Aliquam</a:t>
            </a:r>
            <a:r>
              <a:rPr lang="en-US"/>
              <a:t> id </a:t>
            </a:r>
            <a:r>
              <a:rPr lang="en-US" err="1"/>
              <a:t>sagittis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at </a:t>
            </a:r>
            <a:r>
              <a:rPr lang="en-US" err="1"/>
              <a:t>placerat</a:t>
            </a:r>
            <a:r>
              <a:rPr lang="en-US"/>
              <a:t> </a:t>
            </a:r>
            <a:r>
              <a:rPr lang="en-US" err="1"/>
              <a:t>lacus</a:t>
            </a:r>
            <a:r>
              <a:rPr lang="en-US"/>
              <a:t>, non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000860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column/subhead/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black and purple background&#10;&#10;Description automatically generated">
            <a:extLst>
              <a:ext uri="{FF2B5EF4-FFF2-40B4-BE49-F238E27FC236}">
                <a16:creationId xmlns:a16="http://schemas.microsoft.com/office/drawing/2014/main" id="{F6E69804-99D2-056F-4EB1-0313896BE0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0" y="4704796"/>
            <a:ext cx="12199749" cy="215867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4C6356C-9532-5436-46A1-619B2A6A7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0677" y="422028"/>
            <a:ext cx="11018520" cy="61555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FEF8026C-7744-AAD9-41CA-C4ABA625DBE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0677" y="1354747"/>
            <a:ext cx="4511136" cy="276999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800" b="1">
                <a:gradFill>
                  <a:gsLst>
                    <a:gs pos="100000">
                      <a:schemeClr val="accent2"/>
                    </a:gs>
                    <a:gs pos="45000">
                      <a:schemeClr val="accent1"/>
                    </a:gs>
                  </a:gsLst>
                  <a:lin ang="48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EBEEF0C1-9DBD-0741-E148-D23B90A645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0677" y="1858677"/>
            <a:ext cx="4511136" cy="1264962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Clr>
                <a:schemeClr val="accent5"/>
              </a:buClr>
              <a:buFontTx/>
              <a:buNone/>
              <a:defRPr lang="en-US" sz="1200" b="0" kern="1200" spc="0" baseline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lang="en-US" sz="1600" dirty="0">
                <a:solidFill>
                  <a:schemeClr val="tx1"/>
                </a:solidFill>
              </a:defRPr>
            </a:lvl2pPr>
            <a:lvl3pPr>
              <a:defRPr lang="en-US" sz="1600" dirty="0">
                <a:solidFill>
                  <a:schemeClr val="tx1"/>
                </a:solidFill>
              </a:defRPr>
            </a:lvl3pPr>
            <a:lvl4pPr>
              <a:defRPr lang="en-US" sz="1400" dirty="0">
                <a:solidFill>
                  <a:schemeClr val="tx1"/>
                </a:solidFill>
              </a:defRPr>
            </a:lvl4pPr>
            <a:lvl5pPr>
              <a:defRPr lang="en-US" sz="1400" dirty="0">
                <a:solidFill>
                  <a:schemeClr val="tx1"/>
                </a:solidFill>
              </a:defRPr>
            </a:lvl5pPr>
          </a:lstStyle>
          <a:p>
            <a:pPr marL="141288" marR="0" lvl="0" indent="-141288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.</a:t>
            </a:r>
          </a:p>
          <a:p>
            <a:pPr marL="141288" marR="0" lvl="0" indent="-141288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Donec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,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, non </a:t>
            </a:r>
            <a:r>
              <a:rPr lang="en-US" err="1"/>
              <a:t>commodo</a:t>
            </a:r>
            <a:r>
              <a:rPr lang="en-US"/>
              <a:t> dui.</a:t>
            </a:r>
          </a:p>
          <a:p>
            <a:pPr marL="141288" marR="0" lvl="0" indent="-141288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 err="1"/>
              <a:t>Nullam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rhoncus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ac </a:t>
            </a:r>
            <a:r>
              <a:rPr lang="en-US" err="1"/>
              <a:t>feugiat</a:t>
            </a:r>
            <a:r>
              <a:rPr lang="en-US"/>
              <a:t>. </a:t>
            </a:r>
          </a:p>
          <a:p>
            <a:pPr marL="141288" marR="0" lvl="0" indent="-141288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Maecenas ac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placerat</a:t>
            </a:r>
            <a:r>
              <a:rPr lang="en-US"/>
              <a:t> eros </a:t>
            </a:r>
            <a:r>
              <a:rPr lang="en-US" err="1"/>
              <a:t>quis</a:t>
            </a:r>
            <a:r>
              <a:rPr lang="en-US"/>
              <a:t>.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855851C6-7894-1086-1B76-8F1549A38A3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62614" y="1858677"/>
            <a:ext cx="4511135" cy="1264962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Clr>
                <a:schemeClr val="accent5"/>
              </a:buClr>
              <a:buFont typeface="Arial" panose="020B0604020202020204" pitchFamily="34" charset="0"/>
              <a:buNone/>
              <a:defRPr lang="en-US" sz="1200" b="0" kern="1200" spc="0" baseline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lang="en-US" sz="1600" dirty="0">
                <a:solidFill>
                  <a:schemeClr val="tx1"/>
                </a:solidFill>
              </a:defRPr>
            </a:lvl2pPr>
            <a:lvl3pPr>
              <a:defRPr lang="en-US" sz="1600" dirty="0">
                <a:solidFill>
                  <a:schemeClr val="tx1"/>
                </a:solidFill>
              </a:defRPr>
            </a:lvl3pPr>
            <a:lvl4pPr>
              <a:defRPr lang="en-US" sz="1400" dirty="0">
                <a:solidFill>
                  <a:schemeClr val="tx1"/>
                </a:solidFill>
              </a:defRPr>
            </a:lvl4pPr>
            <a:lvl5pPr>
              <a:defRPr lang="en-US" sz="1400" dirty="0">
                <a:solidFill>
                  <a:schemeClr val="tx1"/>
                </a:solidFill>
              </a:defRPr>
            </a:lvl5pPr>
          </a:lstStyle>
          <a:p>
            <a:pPr marL="141288" marR="0" lvl="0" indent="-141288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.</a:t>
            </a:r>
          </a:p>
          <a:p>
            <a:pPr marL="141288" marR="0" lvl="0" indent="-141288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Donec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,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, non </a:t>
            </a:r>
            <a:r>
              <a:rPr lang="en-US" err="1"/>
              <a:t>commodo</a:t>
            </a:r>
            <a:r>
              <a:rPr lang="en-US"/>
              <a:t> dui.</a:t>
            </a:r>
          </a:p>
          <a:p>
            <a:pPr marL="141288" marR="0" lvl="0" indent="-141288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 err="1"/>
              <a:t>Nullam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rhoncus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ac </a:t>
            </a:r>
            <a:r>
              <a:rPr lang="en-US" err="1"/>
              <a:t>feugiat</a:t>
            </a:r>
            <a:r>
              <a:rPr lang="en-US"/>
              <a:t>. </a:t>
            </a:r>
          </a:p>
          <a:p>
            <a:pPr marL="141288" marR="0" lvl="0" indent="-141288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Maecenas ac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placerat</a:t>
            </a:r>
            <a:r>
              <a:rPr lang="en-US"/>
              <a:t> eros </a:t>
            </a:r>
            <a:r>
              <a:rPr lang="en-US" err="1"/>
              <a:t>quis</a:t>
            </a:r>
            <a:r>
              <a:rPr lang="en-US"/>
              <a:t>.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ADFC2B44-5232-BE0C-160F-949730398C0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60205" y="1354747"/>
            <a:ext cx="4534378" cy="276999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800" b="1">
                <a:gradFill>
                  <a:gsLst>
                    <a:gs pos="100000">
                      <a:schemeClr val="accent2"/>
                    </a:gs>
                    <a:gs pos="47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60495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  <p15:guide id="4" pos="3660">
          <p15:clr>
            <a:srgbClr val="5ACBF0"/>
          </p15:clr>
        </p15:guide>
        <p15:guide id="5" pos="4024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locks text with subhea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ECC73F5-7DA5-348A-BF60-D3BB9B0D74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5487" y="3429000"/>
            <a:ext cx="6840109" cy="3429000"/>
          </a:xfrm>
          <a:prstGeom prst="rect">
            <a:avLst/>
          </a:prstGeom>
        </p:spPr>
      </p:pic>
      <p:pic>
        <p:nvPicPr>
          <p:cNvPr id="8" name="Picture 7" descr="A black circle with a dark background&#10;&#10;Description automatically generated with medium confidence">
            <a:extLst>
              <a:ext uri="{FF2B5EF4-FFF2-40B4-BE49-F238E27FC236}">
                <a16:creationId xmlns:a16="http://schemas.microsoft.com/office/drawing/2014/main" id="{E40123C1-ECDC-1899-E605-ED07C31B03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43564" y="0"/>
            <a:ext cx="4448436" cy="3840658"/>
          </a:xfrm>
          <a:prstGeom prst="rect">
            <a:avLst/>
          </a:prstGeom>
        </p:spPr>
      </p:pic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B7F8F03D-8454-4767-E458-BF93C976CB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83543" y="1829625"/>
            <a:ext cx="3192272" cy="276999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800" b="1">
                <a:gradFill>
                  <a:gsLst>
                    <a:gs pos="30000">
                      <a:schemeClr val="accent1"/>
                    </a:gs>
                    <a:gs pos="100000">
                      <a:schemeClr val="accent2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C888422-F7CD-FCF1-DEFA-ABEB4D699D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83543" y="2328943"/>
            <a:ext cx="3205796" cy="73866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con </a:t>
            </a:r>
            <a:r>
              <a:rPr lang="en-US" err="1"/>
              <a:t>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Donec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r>
              <a:rPr lang="en-US"/>
              <a:t> </a:t>
            </a:r>
            <a:r>
              <a:rPr lang="en-US" err="1"/>
              <a:t>conse</a:t>
            </a:r>
            <a:r>
              <a:rPr lang="en-US"/>
              <a:t> </a:t>
            </a:r>
            <a:r>
              <a:rPr lang="en-US" err="1"/>
              <a:t>ctetur</a:t>
            </a:r>
            <a:r>
              <a:rPr lang="en-US"/>
              <a:t>,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, non </a:t>
            </a:r>
            <a:r>
              <a:rPr lang="en-US" err="1"/>
              <a:t>commodo</a:t>
            </a:r>
            <a:r>
              <a:rPr lang="en-US"/>
              <a:t> dui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diam.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3ACED0D3-C5CD-8664-E695-2F236B6A0B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83543" y="3683545"/>
            <a:ext cx="3192272" cy="276999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800" b="1">
                <a:gradFill>
                  <a:gsLst>
                    <a:gs pos="30000">
                      <a:schemeClr val="accent1"/>
                    </a:gs>
                    <a:gs pos="100000">
                      <a:schemeClr val="accent2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4AE224D2-3466-9146-EE6E-BA67BED0D1F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83543" y="4182863"/>
            <a:ext cx="3205796" cy="73866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con </a:t>
            </a:r>
            <a:r>
              <a:rPr lang="en-US" err="1"/>
              <a:t>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Donec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r>
              <a:rPr lang="en-US"/>
              <a:t> </a:t>
            </a:r>
            <a:r>
              <a:rPr lang="en-US" err="1"/>
              <a:t>conse</a:t>
            </a:r>
            <a:r>
              <a:rPr lang="en-US"/>
              <a:t> </a:t>
            </a:r>
            <a:r>
              <a:rPr lang="en-US" err="1"/>
              <a:t>ctetur</a:t>
            </a:r>
            <a:r>
              <a:rPr lang="en-US"/>
              <a:t>,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, non </a:t>
            </a:r>
            <a:r>
              <a:rPr lang="en-US" err="1"/>
              <a:t>commodo</a:t>
            </a:r>
            <a:r>
              <a:rPr lang="en-US"/>
              <a:t> dui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diam.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26B0340-D163-DC5F-8A43-6B2FABDB023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11481" y="1829625"/>
            <a:ext cx="3192272" cy="276999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800" b="1">
                <a:gradFill>
                  <a:gsLst>
                    <a:gs pos="30000">
                      <a:schemeClr val="accent1"/>
                    </a:gs>
                    <a:gs pos="100000">
                      <a:schemeClr val="accent2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98B6839-2B15-691F-F547-8CEB738ECA3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11481" y="2328943"/>
            <a:ext cx="3205796" cy="73866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con </a:t>
            </a:r>
            <a:r>
              <a:rPr lang="en-US" err="1"/>
              <a:t>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Donec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r>
              <a:rPr lang="en-US"/>
              <a:t> </a:t>
            </a:r>
            <a:r>
              <a:rPr lang="en-US" err="1"/>
              <a:t>conse</a:t>
            </a:r>
            <a:r>
              <a:rPr lang="en-US"/>
              <a:t> </a:t>
            </a:r>
            <a:r>
              <a:rPr lang="en-US" err="1"/>
              <a:t>ctetur</a:t>
            </a:r>
            <a:r>
              <a:rPr lang="en-US"/>
              <a:t>,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, non </a:t>
            </a:r>
            <a:r>
              <a:rPr lang="en-US" err="1"/>
              <a:t>commodo</a:t>
            </a:r>
            <a:r>
              <a:rPr lang="en-US"/>
              <a:t> dui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diam.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9204744-C252-06A4-7593-B29BB49262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11481" y="3683545"/>
            <a:ext cx="3192272" cy="276999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800" b="1">
                <a:gradFill>
                  <a:gsLst>
                    <a:gs pos="30000">
                      <a:schemeClr val="accent1"/>
                    </a:gs>
                    <a:gs pos="100000">
                      <a:schemeClr val="accent2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A4CCD511-7E08-DA5E-8D35-3B3B0CFDDE0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011481" y="4182863"/>
            <a:ext cx="3205796" cy="73866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con </a:t>
            </a:r>
            <a:r>
              <a:rPr lang="en-US" err="1"/>
              <a:t>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Donec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r>
              <a:rPr lang="en-US"/>
              <a:t> </a:t>
            </a:r>
            <a:r>
              <a:rPr lang="en-US" err="1"/>
              <a:t>conse</a:t>
            </a:r>
            <a:r>
              <a:rPr lang="en-US"/>
              <a:t> </a:t>
            </a:r>
            <a:r>
              <a:rPr lang="en-US" err="1"/>
              <a:t>ctetur</a:t>
            </a:r>
            <a:r>
              <a:rPr lang="en-US"/>
              <a:t>,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, non </a:t>
            </a:r>
            <a:r>
              <a:rPr lang="en-US" err="1"/>
              <a:t>commodo</a:t>
            </a:r>
            <a:r>
              <a:rPr lang="en-US"/>
              <a:t> dui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diam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544D1D7-60B7-26A6-16B6-05E7D79890D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66"/>
            <a:ext cx="3420035" cy="6857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549953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pag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A1A9C5EE-AD9B-C973-7EC3-E784E884F5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2171" y="2189877"/>
            <a:ext cx="6367270" cy="19236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ts val="7500"/>
              </a:lnSpc>
              <a:spcBef>
                <a:spcPct val="0"/>
              </a:spcBef>
              <a:buNone/>
              <a:defRPr lang="en-US" sz="6000" b="1" kern="1200" cap="none" spc="-300" baseline="0" dirty="0">
                <a:ln w="3175">
                  <a:noFill/>
                </a:ln>
                <a:solidFill>
                  <a:schemeClr val="bg1"/>
                </a:solidFill>
                <a:effectLst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962FB5EE-A7CB-45F1-0F33-06C38CDC6B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2171" y="4345640"/>
            <a:ext cx="5430837" cy="276999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7835480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black and purple wave&#10;&#10;Description automatically generated">
            <a:extLst>
              <a:ext uri="{FF2B5EF4-FFF2-40B4-BE49-F238E27FC236}">
                <a16:creationId xmlns:a16="http://schemas.microsoft.com/office/drawing/2014/main" id="{0894BD32-9B8D-551F-6688-FCC37930A8B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-1403244" y="1403239"/>
            <a:ext cx="6857625" cy="4051139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F991CCEE-D8A7-0DB7-70BE-7B1A06D2D7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5487" y="3429000"/>
            <a:ext cx="6840109" cy="3429000"/>
          </a:xfrm>
          <a:prstGeom prst="rect">
            <a:avLst/>
          </a:prstGeom>
        </p:spPr>
      </p:pic>
      <p:pic>
        <p:nvPicPr>
          <p:cNvPr id="7" name="Picture 6" descr="A black circle with a dark background&#10;&#10;Description automatically generated with medium confidence">
            <a:extLst>
              <a:ext uri="{FF2B5EF4-FFF2-40B4-BE49-F238E27FC236}">
                <a16:creationId xmlns:a16="http://schemas.microsoft.com/office/drawing/2014/main" id="{3BAD64EE-8587-AFF9-9259-69EF7FD8E9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43564" y="0"/>
            <a:ext cx="4448436" cy="3840658"/>
          </a:xfrm>
          <a:prstGeom prst="rect">
            <a:avLst/>
          </a:prstGeom>
        </p:spPr>
      </p:pic>
      <p:sp>
        <p:nvSpPr>
          <p:cNvPr id="5" name="Title 2">
            <a:extLst>
              <a:ext uri="{FF2B5EF4-FFF2-40B4-BE49-F238E27FC236}">
                <a16:creationId xmlns:a16="http://schemas.microsoft.com/office/drawing/2014/main" id="{4E57FBE1-0B96-B01A-E10B-82264F460D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77395" y="2461881"/>
            <a:ext cx="4158362" cy="1252793"/>
          </a:xfrm>
        </p:spPr>
        <p:txBody>
          <a:bodyPr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2E87B1D5-4E73-46D1-72DE-AE7A7E8F537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77395" y="3947633"/>
            <a:ext cx="4158362" cy="553998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Donec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,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, non </a:t>
            </a:r>
            <a:r>
              <a:rPr lang="en-US" err="1"/>
              <a:t>commodo</a:t>
            </a:r>
            <a:r>
              <a:rPr lang="en-US"/>
              <a:t> dui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diam.</a:t>
            </a:r>
          </a:p>
        </p:txBody>
      </p:sp>
      <p:sp>
        <p:nvSpPr>
          <p:cNvPr id="4" name="Rounded Rectangle 2">
            <a:extLst>
              <a:ext uri="{FF2B5EF4-FFF2-40B4-BE49-F238E27FC236}">
                <a16:creationId xmlns:a16="http://schemas.microsoft.com/office/drawing/2014/main" id="{C100D46A-2866-B193-6086-DEEB653E74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605576" y="1079344"/>
            <a:ext cx="4812073" cy="4720940"/>
          </a:xfrm>
          <a:prstGeom prst="roundRect">
            <a:avLst>
              <a:gd name="adj" fmla="val 1979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45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381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10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BA028779-EA28-62D7-6D05-CA2F544295B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733485" y="1213954"/>
            <a:ext cx="4556255" cy="4451720"/>
          </a:xfrm>
          <a:solidFill>
            <a:schemeClr val="bg1"/>
          </a:solidFill>
        </p:spPr>
        <p:txBody>
          <a:bodyPr lIns="0" tIns="0" rIns="0" bIns="731520" anchor="ctr" anchorCtr="0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200" b="1" kern="1200" spc="0" baseline="0" dirty="0">
                <a:solidFill>
                  <a:schemeClr val="tx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Drag &amp; drop your photo here or </a:t>
            </a:r>
            <a:br>
              <a:rPr lang="en-US"/>
            </a:br>
            <a:r>
              <a:rPr lang="en-US"/>
              <a:t>click or tap icon below to insert</a:t>
            </a:r>
          </a:p>
        </p:txBody>
      </p:sp>
    </p:spTree>
    <p:extLst>
      <p:ext uri="{BB962C8B-B14F-4D97-AF65-F5344CB8AC3E}">
        <p14:creationId xmlns:p14="http://schemas.microsoft.com/office/powerpoint/2010/main" val="324958680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10" grpId="0" animBg="1"/>
    </p:bldLst>
  </p:timing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3" orient="horz" pos="2880">
          <p15:clr>
            <a:srgbClr val="5ACBF0"/>
          </p15:clr>
        </p15:guide>
        <p15:guide id="4" orient="horz" pos="3024">
          <p15:clr>
            <a:srgbClr val="5ACBF0"/>
          </p15:clr>
        </p15:guide>
        <p15:guide id="8" pos="4631">
          <p15:clr>
            <a:srgbClr val="5ACBF0"/>
          </p15:clr>
        </p15:guide>
        <p15:guide id="9" pos="4593">
          <p15:clr>
            <a:srgbClr val="5ACBF0"/>
          </p15:clr>
        </p15:guide>
        <p15:guide id="10" pos="6134">
          <p15:clr>
            <a:srgbClr val="5ACBF0"/>
          </p15:clr>
        </p15:guide>
        <p15:guide id="11" pos="1323">
          <p15:clr>
            <a:srgbClr val="5ACBF0"/>
          </p15:clr>
        </p15:guide>
        <p15:guide id="12" pos="2865">
          <p15:clr>
            <a:srgbClr val="5ACBF0"/>
          </p15:clr>
        </p15:guide>
        <p15:guide id="13" pos="4815">
          <p15:clr>
            <a:srgbClr val="5ACBF0"/>
          </p15:clr>
        </p15:guide>
        <p15:guide id="14" pos="6361">
          <p15:clr>
            <a:srgbClr val="5ACBF0"/>
          </p15:clr>
        </p15:guide>
        <p15:guide id="15" orient="horz">
          <p15:clr>
            <a:srgbClr val="5ACBF0"/>
          </p15:clr>
        </p15:guide>
        <p15:guide id="16" pos="1727">
          <p15:clr>
            <a:srgbClr val="5ACBF0"/>
          </p15:clr>
        </p15:guide>
        <p15:guide id="17" pos="2294">
          <p15:clr>
            <a:srgbClr val="5ACBF0"/>
          </p15:clr>
        </p15:guide>
        <p15:guide id="18" pos="3273">
          <p15:clr>
            <a:srgbClr val="5ACBF0"/>
          </p15:clr>
        </p15:guide>
        <p15:guide id="19" pos="4411">
          <p15:clr>
            <a:srgbClr val="5ACBF0"/>
          </p15:clr>
        </p15:guide>
        <p15:guide id="21" pos="6179">
          <p15:clr>
            <a:srgbClr val="5ACBF0"/>
          </p15:clr>
        </p15:guide>
        <p15:guide id="22" pos="1501">
          <p15:clr>
            <a:srgbClr val="5ACBF0"/>
          </p15:clr>
        </p15:guide>
        <p15:guide id="23" pos="1543">
          <p15:clr>
            <a:srgbClr val="5ACBF0"/>
          </p15:clr>
        </p15:guide>
        <p15:guide id="24" pos="3049">
          <p15:clr>
            <a:srgbClr val="5ACBF0"/>
          </p15:clr>
        </p15:guide>
        <p15:guide id="25" pos="3088">
          <p15:clr>
            <a:srgbClr val="5ACBF0"/>
          </p15:clr>
        </p15:guide>
        <p15:guide id="26" pos="5954">
          <p15:clr>
            <a:srgbClr val="5ACBF0"/>
          </p15:clr>
        </p15:guide>
        <p15:guide id="27" pos="3840">
          <p15:clr>
            <a:srgbClr val="5ACBF0"/>
          </p15:clr>
        </p15:guide>
        <p15:guide id="28" pos="5386">
          <p15:clr>
            <a:srgbClr val="5ACBF0"/>
          </p15:clr>
        </p15:guide>
        <p15:guide id="29" pos="753">
          <p15:clr>
            <a:srgbClr val="5ACBF0"/>
          </p15:clr>
        </p15:guide>
        <p15:guide id="30" pos="6927">
          <p15:clr>
            <a:srgbClr val="5ACBF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3 round images/text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E8C11A3-69D4-9906-842E-C2B2E87277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5487" y="3438427"/>
            <a:ext cx="6840109" cy="3429000"/>
          </a:xfrm>
          <a:prstGeom prst="rect">
            <a:avLst/>
          </a:prstGeom>
        </p:spPr>
      </p:pic>
      <p:pic>
        <p:nvPicPr>
          <p:cNvPr id="5" name="Picture 4" descr="A black circle with a dark background&#10;&#10;Description automatically generated with medium confidence">
            <a:extLst>
              <a:ext uri="{FF2B5EF4-FFF2-40B4-BE49-F238E27FC236}">
                <a16:creationId xmlns:a16="http://schemas.microsoft.com/office/drawing/2014/main" id="{41062185-3B3A-1274-63F7-3141D2CCE5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52991" y="0"/>
            <a:ext cx="4448436" cy="3840658"/>
          </a:xfrm>
          <a:prstGeom prst="rect">
            <a:avLst/>
          </a:prstGeom>
        </p:spPr>
      </p:pic>
      <p:sp>
        <p:nvSpPr>
          <p:cNvPr id="1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5757E314-6417-4051-A2CD-D3614CAA6A7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ltGray">
          <a:xfrm>
            <a:off x="2037906" y="2286000"/>
            <a:ext cx="2313432" cy="2313432"/>
          </a:xfrm>
          <a:prstGeom prst="ellipse">
            <a:avLst/>
          </a:prstGeom>
          <a:gradFill>
            <a:gsLst>
              <a:gs pos="0">
                <a:schemeClr val="accent5"/>
              </a:gs>
              <a:gs pos="100000">
                <a:schemeClr val="accent1"/>
              </a:gs>
            </a:gsLst>
            <a:lin ang="3600000" scaled="0"/>
          </a:grad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000" b="1">
                <a:solidFill>
                  <a:schemeClr val="tx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BBECFAF-80A0-4620-8865-87562DFB49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37906" y="4838075"/>
            <a:ext cx="2313432" cy="369332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200" b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AD287B4-D736-4707-854D-BEA62EF2BB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9284" y="4838075"/>
            <a:ext cx="2313432" cy="369332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200" b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ED5A27F-D9D2-4DCB-8422-4694477ECA8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840663" y="4838075"/>
            <a:ext cx="2313432" cy="369332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200" b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CD7D6FA-1719-A79E-EAE1-DBA349CB23FA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ltGray">
          <a:xfrm>
            <a:off x="4933506" y="2286000"/>
            <a:ext cx="2313432" cy="2313432"/>
          </a:xfrm>
          <a:prstGeom prst="ellipse">
            <a:avLst/>
          </a:prstGeom>
          <a:gradFill>
            <a:gsLst>
              <a:gs pos="0">
                <a:schemeClr val="accent5"/>
              </a:gs>
              <a:gs pos="100000">
                <a:schemeClr val="accent1"/>
              </a:gs>
            </a:gsLst>
            <a:lin ang="3600000" scaled="0"/>
          </a:grad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000" b="1">
                <a:solidFill>
                  <a:schemeClr val="tx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63542145-93D8-680E-89D6-10B9E52D37E0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ltGray">
          <a:xfrm>
            <a:off x="7834967" y="2286000"/>
            <a:ext cx="2313432" cy="2313432"/>
          </a:xfrm>
          <a:prstGeom prst="ellipse">
            <a:avLst/>
          </a:prstGeom>
          <a:gradFill>
            <a:gsLst>
              <a:gs pos="0">
                <a:schemeClr val="accent5"/>
              </a:gs>
              <a:gs pos="100000">
                <a:schemeClr val="accent1"/>
              </a:gs>
            </a:gsLst>
            <a:lin ang="3600000" scaled="0"/>
          </a:gradFill>
        </p:spPr>
        <p:txBody>
          <a:bodyPr lIns="0" tIns="0" rIns="0" bIns="594360" anchor="ctr" anchorCtr="0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000" b="1" kern="1200" spc="0" baseline="0" dirty="0">
                <a:solidFill>
                  <a:schemeClr val="tx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605E53D-7AC0-960A-378E-BF67CACEB2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6740" y="990597"/>
            <a:ext cx="11018520" cy="615553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477404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3024">
          <p15:clr>
            <a:srgbClr val="5ACBF0"/>
          </p15:clr>
        </p15:guide>
        <p15:guide id="3" pos="3840">
          <p15:clr>
            <a:srgbClr val="5ACBF0"/>
          </p15:clr>
        </p15:guide>
        <p15:guide id="4" pos="1283">
          <p15:clr>
            <a:srgbClr val="5ACBF0"/>
          </p15:clr>
        </p15:guide>
        <p15:guide id="5" pos="5666">
          <p15:clr>
            <a:srgbClr val="5ACBF0"/>
          </p15:clr>
        </p15:guide>
        <p15:guide id="6" pos="2741">
          <p15:clr>
            <a:srgbClr val="5ACBF0"/>
          </p15:clr>
        </p15:guide>
        <p15:guide id="7" pos="2012">
          <p15:clr>
            <a:srgbClr val="5ACBF0"/>
          </p15:clr>
        </p15:guide>
        <p15:guide id="8" pos="3109">
          <p15:clr>
            <a:srgbClr val="5ACBF0"/>
          </p15:clr>
        </p15:guide>
        <p15:guide id="9" pos="4570">
          <p15:clr>
            <a:srgbClr val="5ACBF0"/>
          </p15:clr>
        </p15:guide>
        <p15:guide id="11" pos="6397">
          <p15:clr>
            <a:srgbClr val="5ACBF0"/>
          </p15:clr>
        </p15:guide>
        <p15:guide id="12" orient="horz" pos="1440">
          <p15:clr>
            <a:srgbClr val="5ACBF0"/>
          </p15:clr>
        </p15:guide>
        <p15:guide id="13" pos="4938">
          <p15:clr>
            <a:srgbClr val="5ACBF0"/>
          </p15:clr>
        </p15:guide>
        <p15:guide id="14" orient="horz" pos="2894">
          <p15:clr>
            <a:srgbClr val="5ACBF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hort quote/nam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4B878651-6EA0-F1DE-DDB3-D4C07A4E59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09699" y="2696798"/>
            <a:ext cx="4451089" cy="1107996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</a:t>
            </a:r>
            <a:r>
              <a:rPr lang="en-US"/>
              <a:t> </a:t>
            </a:r>
            <a:r>
              <a:rPr lang="en-US" err="1"/>
              <a:t>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Donec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,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.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52A3F807-DEFB-6026-D7BD-82284EB7FB76}"/>
              </a:ext>
            </a:extLst>
          </p:cNvPr>
          <p:cNvSpPr/>
          <p:nvPr/>
        </p:nvSpPr>
        <p:spPr>
          <a:xfrm flipH="1">
            <a:off x="570676" y="2199576"/>
            <a:ext cx="680608" cy="604267"/>
          </a:xfrm>
          <a:custGeom>
            <a:avLst/>
            <a:gdLst>
              <a:gd name="connsiteX0" fmla="*/ 393237 w 674431"/>
              <a:gd name="connsiteY0" fmla="*/ 0 h 587906"/>
              <a:gd name="connsiteX1" fmla="*/ 616089 w 674431"/>
              <a:gd name="connsiteY1" fmla="*/ 0 h 587906"/>
              <a:gd name="connsiteX2" fmla="*/ 616151 w 674431"/>
              <a:gd name="connsiteY2" fmla="*/ 0 h 587906"/>
              <a:gd name="connsiteX3" fmla="*/ 674431 w 674431"/>
              <a:gd name="connsiteY3" fmla="*/ 58280 h 587906"/>
              <a:gd name="connsiteX4" fmla="*/ 674431 w 674431"/>
              <a:gd name="connsiteY4" fmla="*/ 221738 h 587906"/>
              <a:gd name="connsiteX5" fmla="*/ 597219 w 674431"/>
              <a:gd name="connsiteY5" fmla="*/ 471750 h 587906"/>
              <a:gd name="connsiteX6" fmla="*/ 393361 w 674431"/>
              <a:gd name="connsiteY6" fmla="*/ 587630 h 587906"/>
              <a:gd name="connsiteX7" fmla="*/ 380245 w 674431"/>
              <a:gd name="connsiteY7" fmla="*/ 577174 h 587906"/>
              <a:gd name="connsiteX8" fmla="*/ 380245 w 674431"/>
              <a:gd name="connsiteY8" fmla="*/ 489011 h 587906"/>
              <a:gd name="connsiteX9" fmla="*/ 387484 w 674431"/>
              <a:gd name="connsiteY9" fmla="*/ 478865 h 587906"/>
              <a:gd name="connsiteX10" fmla="*/ 523100 w 674431"/>
              <a:gd name="connsiteY10" fmla="*/ 363541 h 587906"/>
              <a:gd name="connsiteX11" fmla="*/ 540423 w 674431"/>
              <a:gd name="connsiteY11" fmla="*/ 283112 h 587906"/>
              <a:gd name="connsiteX12" fmla="*/ 533308 w 674431"/>
              <a:gd name="connsiteY12" fmla="*/ 276306 h 587906"/>
              <a:gd name="connsiteX13" fmla="*/ 393361 w 674431"/>
              <a:gd name="connsiteY13" fmla="*/ 276306 h 587906"/>
              <a:gd name="connsiteX14" fmla="*/ 374986 w 674431"/>
              <a:gd name="connsiteY14" fmla="*/ 257931 h 587906"/>
              <a:gd name="connsiteX15" fmla="*/ 374986 w 674431"/>
              <a:gd name="connsiteY15" fmla="*/ 18251 h 587906"/>
              <a:gd name="connsiteX16" fmla="*/ 393237 w 674431"/>
              <a:gd name="connsiteY16" fmla="*/ 0 h 587906"/>
              <a:gd name="connsiteX17" fmla="*/ 58466 w 674431"/>
              <a:gd name="connsiteY17" fmla="*/ 0 h 587906"/>
              <a:gd name="connsiteX18" fmla="*/ 281070 w 674431"/>
              <a:gd name="connsiteY18" fmla="*/ 0 h 587906"/>
              <a:gd name="connsiteX19" fmla="*/ 299445 w 674431"/>
              <a:gd name="connsiteY19" fmla="*/ 18375 h 587906"/>
              <a:gd name="connsiteX20" fmla="*/ 299445 w 674431"/>
              <a:gd name="connsiteY20" fmla="*/ 221738 h 587906"/>
              <a:gd name="connsiteX21" fmla="*/ 222233 w 674431"/>
              <a:gd name="connsiteY21" fmla="*/ 471750 h 587906"/>
              <a:gd name="connsiteX22" fmla="*/ 18375 w 674431"/>
              <a:gd name="connsiteY22" fmla="*/ 587630 h 587906"/>
              <a:gd name="connsiteX23" fmla="*/ 5259 w 674431"/>
              <a:gd name="connsiteY23" fmla="*/ 577174 h 587906"/>
              <a:gd name="connsiteX24" fmla="*/ 5259 w 674431"/>
              <a:gd name="connsiteY24" fmla="*/ 489011 h 587906"/>
              <a:gd name="connsiteX25" fmla="*/ 12497 w 674431"/>
              <a:gd name="connsiteY25" fmla="*/ 478865 h 587906"/>
              <a:gd name="connsiteX26" fmla="*/ 148114 w 674431"/>
              <a:gd name="connsiteY26" fmla="*/ 363541 h 587906"/>
              <a:gd name="connsiteX27" fmla="*/ 165437 w 674431"/>
              <a:gd name="connsiteY27" fmla="*/ 283112 h 587906"/>
              <a:gd name="connsiteX28" fmla="*/ 158322 w 674431"/>
              <a:gd name="connsiteY28" fmla="*/ 276306 h 587906"/>
              <a:gd name="connsiteX29" fmla="*/ 18375 w 674431"/>
              <a:gd name="connsiteY29" fmla="*/ 276306 h 587906"/>
              <a:gd name="connsiteX30" fmla="*/ 0 w 674431"/>
              <a:gd name="connsiteY30" fmla="*/ 257931 h 587906"/>
              <a:gd name="connsiteX31" fmla="*/ 0 w 674431"/>
              <a:gd name="connsiteY31" fmla="*/ 58466 h 587906"/>
              <a:gd name="connsiteX32" fmla="*/ 58466 w 674431"/>
              <a:gd name="connsiteY32" fmla="*/ 0 h 587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674431" h="587906">
                <a:moveTo>
                  <a:pt x="393237" y="0"/>
                </a:moveTo>
                <a:lnTo>
                  <a:pt x="616089" y="0"/>
                </a:lnTo>
                <a:lnTo>
                  <a:pt x="616151" y="0"/>
                </a:lnTo>
                <a:cubicBezTo>
                  <a:pt x="648322" y="0"/>
                  <a:pt x="674431" y="26109"/>
                  <a:pt x="674431" y="58280"/>
                </a:cubicBezTo>
                <a:lnTo>
                  <a:pt x="674431" y="221738"/>
                </a:lnTo>
                <a:cubicBezTo>
                  <a:pt x="674431" y="328152"/>
                  <a:pt x="648694" y="411490"/>
                  <a:pt x="597219" y="471750"/>
                </a:cubicBezTo>
                <a:cubicBezTo>
                  <a:pt x="548157" y="529102"/>
                  <a:pt x="480225" y="567770"/>
                  <a:pt x="393361" y="587630"/>
                </a:cubicBezTo>
                <a:cubicBezTo>
                  <a:pt x="386679" y="589177"/>
                  <a:pt x="380245" y="584042"/>
                  <a:pt x="380245" y="577174"/>
                </a:cubicBezTo>
                <a:lnTo>
                  <a:pt x="380245" y="489011"/>
                </a:lnTo>
                <a:cubicBezTo>
                  <a:pt x="380245" y="484433"/>
                  <a:pt x="383153" y="480288"/>
                  <a:pt x="387484" y="478865"/>
                </a:cubicBezTo>
                <a:cubicBezTo>
                  <a:pt x="454240" y="456778"/>
                  <a:pt x="499466" y="418295"/>
                  <a:pt x="523100" y="363541"/>
                </a:cubicBezTo>
                <a:cubicBezTo>
                  <a:pt x="535969" y="335824"/>
                  <a:pt x="541784" y="309035"/>
                  <a:pt x="540423" y="283112"/>
                </a:cubicBezTo>
                <a:cubicBezTo>
                  <a:pt x="540238" y="279276"/>
                  <a:pt x="537082" y="276306"/>
                  <a:pt x="533308" y="276306"/>
                </a:cubicBezTo>
                <a:lnTo>
                  <a:pt x="393361" y="276306"/>
                </a:lnTo>
                <a:cubicBezTo>
                  <a:pt x="383215" y="276306"/>
                  <a:pt x="374986" y="268078"/>
                  <a:pt x="374986" y="257931"/>
                </a:cubicBezTo>
                <a:lnTo>
                  <a:pt x="374986" y="18251"/>
                </a:lnTo>
                <a:cubicBezTo>
                  <a:pt x="374986" y="8167"/>
                  <a:pt x="383153" y="0"/>
                  <a:pt x="393237" y="0"/>
                </a:cubicBezTo>
                <a:close/>
                <a:moveTo>
                  <a:pt x="58466" y="0"/>
                </a:moveTo>
                <a:lnTo>
                  <a:pt x="281070" y="0"/>
                </a:lnTo>
                <a:cubicBezTo>
                  <a:pt x="291216" y="0"/>
                  <a:pt x="299445" y="8229"/>
                  <a:pt x="299445" y="18375"/>
                </a:cubicBezTo>
                <a:lnTo>
                  <a:pt x="299445" y="221738"/>
                </a:lnTo>
                <a:cubicBezTo>
                  <a:pt x="299445" y="328152"/>
                  <a:pt x="273708" y="411490"/>
                  <a:pt x="222233" y="471750"/>
                </a:cubicBezTo>
                <a:cubicBezTo>
                  <a:pt x="173171" y="529102"/>
                  <a:pt x="105239" y="567770"/>
                  <a:pt x="18375" y="587630"/>
                </a:cubicBezTo>
                <a:cubicBezTo>
                  <a:pt x="11631" y="589177"/>
                  <a:pt x="5259" y="584042"/>
                  <a:pt x="5259" y="577174"/>
                </a:cubicBezTo>
                <a:lnTo>
                  <a:pt x="5259" y="489011"/>
                </a:lnTo>
                <a:cubicBezTo>
                  <a:pt x="5259" y="484433"/>
                  <a:pt x="8167" y="480288"/>
                  <a:pt x="12497" y="478865"/>
                </a:cubicBezTo>
                <a:cubicBezTo>
                  <a:pt x="79254" y="456778"/>
                  <a:pt x="124480" y="418295"/>
                  <a:pt x="148114" y="363541"/>
                </a:cubicBezTo>
                <a:cubicBezTo>
                  <a:pt x="160983" y="335824"/>
                  <a:pt x="166798" y="309035"/>
                  <a:pt x="165437" y="283112"/>
                </a:cubicBezTo>
                <a:cubicBezTo>
                  <a:pt x="165252" y="279276"/>
                  <a:pt x="162096" y="276306"/>
                  <a:pt x="158322" y="276306"/>
                </a:cubicBezTo>
                <a:lnTo>
                  <a:pt x="18375" y="276306"/>
                </a:lnTo>
                <a:cubicBezTo>
                  <a:pt x="8229" y="276306"/>
                  <a:pt x="0" y="268078"/>
                  <a:pt x="0" y="257931"/>
                </a:cubicBezTo>
                <a:lnTo>
                  <a:pt x="0" y="58466"/>
                </a:lnTo>
                <a:cubicBezTo>
                  <a:pt x="0" y="26171"/>
                  <a:pt x="26171" y="0"/>
                  <a:pt x="58466" y="0"/>
                </a:cubicBezTo>
                <a:close/>
              </a:path>
            </a:pathLst>
          </a:custGeom>
          <a:solidFill>
            <a:schemeClr val="accent1"/>
          </a:solidFill>
          <a:ln w="611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6B8F6EDE-3287-C98A-2287-E97E9546E9E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09699" y="4036953"/>
            <a:ext cx="4451089" cy="184666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200" b="0" spc="0" baseline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pic>
        <p:nvPicPr>
          <p:cNvPr id="2" name="Picture 1" descr="A purple dot pattern on a black background&#10;&#10;Description automatically generated">
            <a:extLst>
              <a:ext uri="{FF2B5EF4-FFF2-40B4-BE49-F238E27FC236}">
                <a16:creationId xmlns:a16="http://schemas.microsoft.com/office/drawing/2014/main" id="{C87F9B58-0572-5401-2FFB-58A8754770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94493" y="7025"/>
            <a:ext cx="8906934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45523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 - 8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group of colorful cylinders&#10;&#10;Description automatically generated">
            <a:extLst>
              <a:ext uri="{FF2B5EF4-FFF2-40B4-BE49-F238E27FC236}">
                <a16:creationId xmlns:a16="http://schemas.microsoft.com/office/drawing/2014/main" id="{B9967197-9769-716E-7FA6-3534E9C697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3D7A6EF0-71D6-113F-2479-C32536FC11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562684" y="2485571"/>
            <a:ext cx="5452803" cy="1046440"/>
          </a:xfrm>
          <a:noFill/>
        </p:spPr>
        <p:txBody>
          <a:bodyPr vert="horz" wrap="square" lIns="0" tIns="0" rIns="0" bIns="0" rtlCol="0" anchor="t" anchorCtr="0">
            <a:spAutoFit/>
          </a:bodyPr>
          <a:lstStyle>
            <a:lvl1pPr>
              <a:lnSpc>
                <a:spcPct val="85000"/>
              </a:lnSpc>
              <a:defRPr lang="en-US" sz="40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Demo:</a:t>
            </a:r>
            <a:br>
              <a:rPr lang="en-US"/>
            </a:br>
            <a:r>
              <a:rPr lang="en-US"/>
              <a:t>Demo title her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F03C7CF-185F-5124-97E2-971F562274D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62684" y="3774455"/>
            <a:ext cx="5452803" cy="276999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800" b="1" spc="0" baseline="0">
                <a:solidFill>
                  <a:schemeClr val="bg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Speaker name or subtitle text 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56AA86E6-0CD7-56AE-6403-89E56112E144}"/>
              </a:ext>
            </a:extLst>
          </p:cNvPr>
          <p:cNvSpPr/>
          <p:nvPr userDrawn="1"/>
        </p:nvSpPr>
        <p:spPr bwMode="auto">
          <a:xfrm>
            <a:off x="573864" y="521487"/>
            <a:ext cx="1550569" cy="1550569"/>
          </a:xfrm>
          <a:prstGeom prst="ellipse">
            <a:avLst/>
          </a:prstGeom>
          <a:noFill/>
          <a:ln w="25400">
            <a:gradFill>
              <a:gsLst>
                <a:gs pos="0">
                  <a:schemeClr val="accent5"/>
                </a:gs>
                <a:gs pos="100000">
                  <a:schemeClr val="accent1"/>
                </a:gs>
              </a:gsLst>
              <a:lin ang="3600000" scaled="0"/>
            </a:gradFill>
            <a:headEnd type="none" w="med" len="med"/>
            <a:tailEnd type="none" w="med" len="med"/>
          </a:ln>
          <a:effectLst>
            <a:outerShdw blurRad="952500" dist="444500" dir="5400000" algn="ctr" rotWithShape="0">
              <a:schemeClr val="accent5">
                <a:alpha val="30000"/>
              </a:scheme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9FFDBFBB-1F0F-8308-F2FF-A3A7287183A6}"/>
              </a:ext>
            </a:extLst>
          </p:cNvPr>
          <p:cNvSpPr>
            <a:spLocks noGrp="1" noChangeAspect="1"/>
          </p:cNvSpPr>
          <p:nvPr>
            <p:ph type="pic" sz="quarter" idx="27" hasCustomPrompt="1"/>
          </p:nvPr>
        </p:nvSpPr>
        <p:spPr bwMode="ltGray">
          <a:xfrm>
            <a:off x="718931" y="666554"/>
            <a:ext cx="1260435" cy="1260435"/>
          </a:xfrm>
          <a:prstGeom prst="ellipse">
            <a:avLst/>
          </a:prstGeom>
          <a:gradFill>
            <a:gsLst>
              <a:gs pos="0">
                <a:schemeClr val="accent5"/>
              </a:gs>
              <a:gs pos="100000">
                <a:schemeClr val="accent1"/>
              </a:gs>
            </a:gsLst>
            <a:lin ang="3600000" scaled="0"/>
          </a:gradFill>
        </p:spPr>
        <p:txBody>
          <a:bodyPr lIns="0" tIns="64008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lang="en-US" sz="800" b="1" i="0" cap="none" spc="0" baseline="0" dirty="0">
                <a:solidFill>
                  <a:schemeClr val="bg2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r>
              <a:rPr lang="en-US"/>
              <a:t>Drag &amp; drop your photo here or click or tap icon below to insert</a:t>
            </a:r>
          </a:p>
        </p:txBody>
      </p:sp>
    </p:spTree>
    <p:extLst>
      <p:ext uri="{BB962C8B-B14F-4D97-AF65-F5344CB8AC3E}">
        <p14:creationId xmlns:p14="http://schemas.microsoft.com/office/powerpoint/2010/main" val="30816244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7D0E0288-8E0A-F00F-796C-D26BE8C943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566159"/>
            <a:ext cx="12191998" cy="3291841"/>
          </a:xfrm>
          <a:prstGeom prst="rect">
            <a:avLst/>
          </a:prstGeom>
        </p:spPr>
      </p:pic>
      <p:pic>
        <p:nvPicPr>
          <p:cNvPr id="29" name="Picture 28" descr="A purple and black wave&#10;&#10;Description automatically generated">
            <a:extLst>
              <a:ext uri="{FF2B5EF4-FFF2-40B4-BE49-F238E27FC236}">
                <a16:creationId xmlns:a16="http://schemas.microsoft.com/office/drawing/2014/main" id="{D99C6AD2-7494-D70F-BCCB-271DA4C4C3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132324"/>
            <a:ext cx="12192000" cy="2725676"/>
          </a:xfrm>
          <a:prstGeom prst="rect">
            <a:avLst/>
          </a:prstGeom>
        </p:spPr>
      </p:pic>
      <p:pic>
        <p:nvPicPr>
          <p:cNvPr id="30" name="Picture 29" descr="A black and purple wave&#10;&#10;Description automatically generated">
            <a:extLst>
              <a:ext uri="{FF2B5EF4-FFF2-40B4-BE49-F238E27FC236}">
                <a16:creationId xmlns:a16="http://schemas.microsoft.com/office/drawing/2014/main" id="{76AD66EA-8CEA-0BE0-8425-25B37B9815A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835760"/>
            <a:ext cx="12192000" cy="3022239"/>
          </a:xfrm>
          <a:prstGeom prst="rect">
            <a:avLst/>
          </a:prstGeom>
        </p:spPr>
      </p:pic>
      <p:sp>
        <p:nvSpPr>
          <p:cNvPr id="8" name="Rounded Rectangle 2">
            <a:extLst>
              <a:ext uri="{FF2B5EF4-FFF2-40B4-BE49-F238E27FC236}">
                <a16:creationId xmlns:a16="http://schemas.microsoft.com/office/drawing/2014/main" id="{8A905A78-3C11-0D32-DFFE-B02ECDB382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1784878" y="1335987"/>
            <a:ext cx="8624158" cy="4996803"/>
          </a:xfrm>
          <a:prstGeom prst="roundRect">
            <a:avLst>
              <a:gd name="adj" fmla="val 1979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3000000" scaled="0"/>
            </a:gradFill>
            <a:prstDash val="solid"/>
          </a:ln>
          <a:effectLst>
            <a:outerShdw blurRad="381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C6A3F06-F39E-0E7A-B941-89CAC31761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6740" y="422028"/>
            <a:ext cx="11018520" cy="615553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B6B27B95-163F-794F-AD82-1273F49EB9B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ltGray">
          <a:xfrm>
            <a:off x="1968594" y="1510327"/>
            <a:ext cx="8253106" cy="4650863"/>
          </a:xfrm>
          <a:gradFill>
            <a:gsLst>
              <a:gs pos="0">
                <a:schemeClr val="accent5"/>
              </a:gs>
              <a:gs pos="100000">
                <a:schemeClr val="accent1"/>
              </a:gs>
            </a:gsLst>
            <a:lin ang="3000000" scaled="0"/>
          </a:gradFill>
        </p:spPr>
        <p:txBody>
          <a:bodyPr lIns="0" tIns="0" rIns="0" bIns="731520" anchor="ctr" anchorCtr="0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200" b="1" kern="1200" spc="0" baseline="0" dirty="0">
                <a:solidFill>
                  <a:schemeClr val="tx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Drag &amp; drop your photo here or </a:t>
            </a:r>
            <a:br>
              <a:rPr lang="en-US"/>
            </a:br>
            <a:r>
              <a:rPr lang="en-US"/>
              <a:t>click or tap icon below to insert</a:t>
            </a:r>
          </a:p>
        </p:txBody>
      </p:sp>
    </p:spTree>
    <p:extLst>
      <p:ext uri="{BB962C8B-B14F-4D97-AF65-F5344CB8AC3E}">
        <p14:creationId xmlns:p14="http://schemas.microsoft.com/office/powerpoint/2010/main" val="393440362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52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reensho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dark spot in the sky&#10;&#10;Description automatically generated">
            <a:extLst>
              <a:ext uri="{FF2B5EF4-FFF2-40B4-BE49-F238E27FC236}">
                <a16:creationId xmlns:a16="http://schemas.microsoft.com/office/drawing/2014/main" id="{42E63D0D-11CF-3AF8-53F5-F3DA021D08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5945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9" name="Picture 8" descr="A purple and black wave&#10;&#10;Description automatically generated">
            <a:extLst>
              <a:ext uri="{FF2B5EF4-FFF2-40B4-BE49-F238E27FC236}">
                <a16:creationId xmlns:a16="http://schemas.microsoft.com/office/drawing/2014/main" id="{93F35881-457B-7B94-A777-70C6911640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132324"/>
            <a:ext cx="12192000" cy="2725676"/>
          </a:xfrm>
          <a:prstGeom prst="rect">
            <a:avLst/>
          </a:prstGeom>
        </p:spPr>
      </p:pic>
      <p:pic>
        <p:nvPicPr>
          <p:cNvPr id="10" name="Picture 9" descr="A black and purple wave&#10;&#10;Description automatically generated">
            <a:extLst>
              <a:ext uri="{FF2B5EF4-FFF2-40B4-BE49-F238E27FC236}">
                <a16:creationId xmlns:a16="http://schemas.microsoft.com/office/drawing/2014/main" id="{D14E455D-05D0-C20D-6C0D-4ABD125BA8D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338250"/>
            <a:ext cx="12192000" cy="4519749"/>
          </a:xfrm>
          <a:prstGeom prst="rect">
            <a:avLst/>
          </a:prstGeom>
        </p:spPr>
      </p:pic>
      <p:sp>
        <p:nvSpPr>
          <p:cNvPr id="2" name="Rounded Rectangle 2">
            <a:extLst>
              <a:ext uri="{FF2B5EF4-FFF2-40B4-BE49-F238E27FC236}">
                <a16:creationId xmlns:a16="http://schemas.microsoft.com/office/drawing/2014/main" id="{4A17643A-6A86-9A01-DDF2-B07A321A65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1029730" y="521407"/>
            <a:ext cx="10134086" cy="5815185"/>
          </a:xfrm>
          <a:prstGeom prst="roundRect">
            <a:avLst>
              <a:gd name="adj" fmla="val 1979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3000000" scaled="0"/>
            </a:gradFill>
            <a:prstDash val="solid"/>
          </a:ln>
          <a:effectLst>
            <a:outerShdw blurRad="381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F458A6A-4BBD-5B1C-AAF8-85B49EB90D3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ltGray">
          <a:xfrm>
            <a:off x="1175730" y="656286"/>
            <a:ext cx="9840535" cy="5545426"/>
          </a:xfrm>
          <a:gradFill>
            <a:gsLst>
              <a:gs pos="0">
                <a:schemeClr val="accent5"/>
              </a:gs>
              <a:gs pos="100000">
                <a:schemeClr val="accent1"/>
              </a:gs>
            </a:gsLst>
            <a:lin ang="3000000" scaled="0"/>
          </a:gradFill>
        </p:spPr>
        <p:txBody>
          <a:bodyPr lIns="0" tIns="0" rIns="0" bIns="731520" anchor="ctr" anchorCtr="0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200" b="1" kern="1200" spc="0" baseline="0" dirty="0">
                <a:solidFill>
                  <a:schemeClr val="tx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Drag &amp; drop your photo here or </a:t>
            </a:r>
            <a:br>
              <a:rPr lang="en-US"/>
            </a:br>
            <a:r>
              <a:rPr lang="en-US"/>
              <a:t>click or tap icon below to insert</a:t>
            </a:r>
          </a:p>
        </p:txBody>
      </p:sp>
    </p:spTree>
    <p:extLst>
      <p:ext uri="{BB962C8B-B14F-4D97-AF65-F5344CB8AC3E}">
        <p14:creationId xmlns:p14="http://schemas.microsoft.com/office/powerpoint/2010/main" val="21543454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purple circle&#10;&#10;Description automatically generated">
            <a:extLst>
              <a:ext uri="{FF2B5EF4-FFF2-40B4-BE49-F238E27FC236}">
                <a16:creationId xmlns:a16="http://schemas.microsoft.com/office/drawing/2014/main" id="{81EF7B7D-CDF8-B5CE-DC39-6B12AC0933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8213" y="3850085"/>
            <a:ext cx="6840110" cy="3017342"/>
          </a:xfrm>
          <a:prstGeom prst="rect">
            <a:avLst/>
          </a:prstGeom>
        </p:spPr>
      </p:pic>
      <p:pic>
        <p:nvPicPr>
          <p:cNvPr id="11" name="Picture 10" descr="A purple circle in the dark&#10;&#10;Description automatically generated">
            <a:extLst>
              <a:ext uri="{FF2B5EF4-FFF2-40B4-BE49-F238E27FC236}">
                <a16:creationId xmlns:a16="http://schemas.microsoft.com/office/drawing/2014/main" id="{E59F0803-2015-FC8C-7DD4-2FD9BE26C6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49233" y="0"/>
            <a:ext cx="4252194" cy="342900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C69E385E-6024-1898-40D5-E810CB62D4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24000" y="3055052"/>
            <a:ext cx="9144000" cy="747897"/>
          </a:xfrm>
          <a:noFill/>
        </p:spPr>
        <p:txBody>
          <a:bodyPr vert="horz" wrap="square" lIns="0" tIns="0" rIns="0" bIns="0" rtlCol="0" anchor="ctr" anchorCtr="0">
            <a:spAutoFit/>
          </a:bodyPr>
          <a:lstStyle>
            <a:lvl1pPr algn="ctr">
              <a:defRPr lang="en-US" sz="5400" b="1" dirty="0">
                <a:gradFill>
                  <a:gsLst>
                    <a:gs pos="100000">
                      <a:schemeClr val="accent2"/>
                    </a:gs>
                    <a:gs pos="21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69659487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52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5ACBF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 page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81F2F9F-8FDA-53F6-5F2E-F6FE8F0449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5487" y="3429000"/>
            <a:ext cx="6840109" cy="3429000"/>
          </a:xfrm>
          <a:prstGeom prst="rect">
            <a:avLst/>
          </a:prstGeom>
        </p:spPr>
      </p:pic>
      <p:pic>
        <p:nvPicPr>
          <p:cNvPr id="5" name="Picture 4" descr="A black circle with a dark background&#10;&#10;Description automatically generated with medium confidence">
            <a:extLst>
              <a:ext uri="{FF2B5EF4-FFF2-40B4-BE49-F238E27FC236}">
                <a16:creationId xmlns:a16="http://schemas.microsoft.com/office/drawing/2014/main" id="{4E1E4492-E365-48F5-FDE6-0B9C41FE5F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43564" y="0"/>
            <a:ext cx="4448436" cy="3840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78762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52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5ACBF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pag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5249458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52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5ACBF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 3 - 10 secti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3D3F8C47-2330-0ECD-CC34-56496A88E1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5487" y="3429000"/>
            <a:ext cx="6840109" cy="3429000"/>
          </a:xfrm>
          <a:prstGeom prst="rect">
            <a:avLst/>
          </a:prstGeom>
        </p:spPr>
      </p:pic>
      <p:pic>
        <p:nvPicPr>
          <p:cNvPr id="26" name="Picture 25" descr="A black circle with a dark background&#10;&#10;Description automatically generated with medium confidence">
            <a:extLst>
              <a:ext uri="{FF2B5EF4-FFF2-40B4-BE49-F238E27FC236}">
                <a16:creationId xmlns:a16="http://schemas.microsoft.com/office/drawing/2014/main" id="{2AD6C0AB-8934-DE6B-47DF-94B147208F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51313" y="0"/>
            <a:ext cx="4448436" cy="3840658"/>
          </a:xfrm>
          <a:prstGeom prst="rect">
            <a:avLst/>
          </a:prstGeom>
        </p:spPr>
      </p:pic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83F8963C-861F-3BC3-237B-7B8D90401B6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2613" y="2902990"/>
            <a:ext cx="3613209" cy="492443"/>
          </a:xfrm>
        </p:spPr>
        <p:txBody>
          <a:bodyPr/>
          <a:lstStyle>
            <a:lvl1pPr>
              <a:defRPr sz="3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y 00</a:t>
            </a:r>
          </a:p>
        </p:txBody>
      </p:sp>
      <p:sp>
        <p:nvSpPr>
          <p:cNvPr id="13" name="object 9">
            <a:extLst>
              <a:ext uri="{FF2B5EF4-FFF2-40B4-BE49-F238E27FC236}">
                <a16:creationId xmlns:a16="http://schemas.microsoft.com/office/drawing/2014/main" id="{A5609C94-B898-A606-3CB5-3DA2B3E6D6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718204" y="1214343"/>
            <a:ext cx="114227" cy="4475763"/>
          </a:xfrm>
          <a:custGeom>
            <a:avLst/>
            <a:gdLst/>
            <a:ahLst/>
            <a:cxnLst/>
            <a:rect l="l" t="t" r="r" b="b"/>
            <a:pathLst>
              <a:path h="3675379">
                <a:moveTo>
                  <a:pt x="0" y="0"/>
                </a:moveTo>
                <a:lnTo>
                  <a:pt x="0" y="3674821"/>
                </a:lnTo>
              </a:path>
            </a:pathLst>
          </a:custGeom>
          <a:noFill/>
          <a:ln w="38100" cap="rnd" cmpd="sng" algn="ctr">
            <a:solidFill>
              <a:schemeClr val="accent1"/>
            </a:solidFill>
            <a:prstDash val="sysDot"/>
            <a:round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28" b="0" i="0" u="none" strike="noStrike" kern="0" cap="none" spc="0" normalizeH="0" baseline="0" noProof="0">
              <a:ln>
                <a:noFill/>
              </a:ln>
              <a:solidFill>
                <a:srgbClr val="2A446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2874AF2B-33AE-F67E-9C9B-BE06561CD5F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2613" y="3539610"/>
            <a:ext cx="3613209" cy="492443"/>
          </a:xfrm>
        </p:spPr>
        <p:txBody>
          <a:bodyPr/>
          <a:lstStyle>
            <a:lvl1pPr>
              <a:defRPr sz="3200" b="1">
                <a:gradFill>
                  <a:gsLst>
                    <a:gs pos="100000">
                      <a:schemeClr val="accent2"/>
                    </a:gs>
                    <a:gs pos="16000">
                      <a:schemeClr val="accent1"/>
                    </a:gs>
                  </a:gsLst>
                  <a:lin ang="2700000" scaled="1"/>
                </a:gradFill>
              </a:defRPr>
            </a:lvl1pPr>
          </a:lstStyle>
          <a:p>
            <a:pPr lvl="0"/>
            <a:r>
              <a:rPr lang="en-US"/>
              <a:t>Agenda</a:t>
            </a:r>
          </a:p>
        </p:txBody>
      </p:sp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D25FCE67-0B39-7DAB-46B1-5E210220F89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120072" y="1214342"/>
            <a:ext cx="1102497" cy="215444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1">
                <a:gradFill>
                  <a:gsLst>
                    <a:gs pos="100000">
                      <a:schemeClr val="accent2"/>
                    </a:gs>
                    <a:gs pos="47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9:05-9:30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13B42117-9431-7E96-AC19-2BF5608EAF6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436111" y="1214342"/>
            <a:ext cx="5173276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Welcome and opening remarks</a:t>
            </a:r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D5FC80C2-58A2-3B85-4839-52ECBE1D072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20072" y="1636504"/>
            <a:ext cx="1102497" cy="215444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1">
                <a:gradFill>
                  <a:gsLst>
                    <a:gs pos="100000">
                      <a:schemeClr val="accent2"/>
                    </a:gs>
                    <a:gs pos="47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9:30-10:30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513320D7-97EA-D5E2-E96C-A9217D66348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120072" y="2058666"/>
            <a:ext cx="1102497" cy="215444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1">
                <a:gradFill>
                  <a:gsLst>
                    <a:gs pos="100000">
                      <a:schemeClr val="accent2"/>
                    </a:gs>
                    <a:gs pos="47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10:30-11:30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6AF2B363-773C-2FBD-BEF2-79CB30A5944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20072" y="2480828"/>
            <a:ext cx="1102497" cy="215444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1">
                <a:gradFill>
                  <a:gsLst>
                    <a:gs pos="100000">
                      <a:schemeClr val="accent2"/>
                    </a:gs>
                    <a:gs pos="47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11:30-12:30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0BF958A6-E2E6-445F-03FD-F221BAC30DD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120072" y="2902990"/>
            <a:ext cx="1102497" cy="215444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1">
                <a:gradFill>
                  <a:gsLst>
                    <a:gs pos="100000">
                      <a:schemeClr val="accent2"/>
                    </a:gs>
                    <a:gs pos="47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12:30-1:00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3208908E-6209-A454-B05C-1A8D869E2C8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120072" y="3325152"/>
            <a:ext cx="1102497" cy="215444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1">
                <a:gradFill>
                  <a:gsLst>
                    <a:gs pos="100000">
                      <a:schemeClr val="accent2"/>
                    </a:gs>
                    <a:gs pos="47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1:00-1:30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CE64AF40-AE55-0824-1FFB-D96B14FD5EF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120072" y="3747314"/>
            <a:ext cx="1102497" cy="215444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1">
                <a:gradFill>
                  <a:gsLst>
                    <a:gs pos="100000">
                      <a:schemeClr val="accent2"/>
                    </a:gs>
                    <a:gs pos="47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1:30-2:00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EA7CC8A3-3714-9E29-8049-52411B7D0A6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120072" y="4169476"/>
            <a:ext cx="1102497" cy="215444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1">
                <a:gradFill>
                  <a:gsLst>
                    <a:gs pos="100000">
                      <a:schemeClr val="accent2"/>
                    </a:gs>
                    <a:gs pos="47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2:00-2:30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C3077BE9-3824-42D1-2983-3E29D8EC361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120072" y="4591638"/>
            <a:ext cx="1102497" cy="215444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1">
                <a:gradFill>
                  <a:gsLst>
                    <a:gs pos="100000">
                      <a:schemeClr val="accent2"/>
                    </a:gs>
                    <a:gs pos="47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2:30-3:00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CEF23AA3-B8F3-D595-993E-29875EAF7CA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120072" y="5013800"/>
            <a:ext cx="1102497" cy="215444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1">
                <a:gradFill>
                  <a:gsLst>
                    <a:gs pos="100000">
                      <a:schemeClr val="accent2"/>
                    </a:gs>
                    <a:gs pos="47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3:00-3:30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DAEFB43D-1F7D-5DB2-5248-0BB762F972D4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120072" y="5435963"/>
            <a:ext cx="1102497" cy="215444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1">
                <a:gradFill>
                  <a:gsLst>
                    <a:gs pos="100000">
                      <a:schemeClr val="accent2"/>
                    </a:gs>
                    <a:gs pos="47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3:30-5:00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0D108966-0742-684C-549F-B911061ED1BB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436111" y="1636671"/>
            <a:ext cx="5173276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Second activity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801EE734-0729-CCDA-A46D-E297985CB4E3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436111" y="2059000"/>
            <a:ext cx="5173276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Break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649EF76-FB4B-B2FF-FC03-C6513F4C9C79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436111" y="2481329"/>
            <a:ext cx="5173276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rd activity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2DA66843-AD30-27DC-22B5-34AB1CE51291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436111" y="2903658"/>
            <a:ext cx="5173276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Lunch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F6A8558-E261-5328-DB8D-35059F6B83AD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436111" y="3325987"/>
            <a:ext cx="5173276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Fourth activity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D981115B-0D15-C94D-A512-89733D14A0B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436111" y="3748316"/>
            <a:ext cx="5173276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Fifth activity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9500E6A0-6FE0-2DDB-D26C-EAC14A2F827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436111" y="4170645"/>
            <a:ext cx="5173276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Break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83021EF6-5D08-0113-C3C9-5014E8719784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436111" y="4592974"/>
            <a:ext cx="5173276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Sixth activity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B3A14614-A23D-2183-1857-807B308460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436111" y="5015303"/>
            <a:ext cx="5173276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Wrap-Up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798E9E31-BC62-8268-2948-1F81F4FF04E4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436111" y="5437632"/>
            <a:ext cx="5173276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Social</a:t>
            </a:r>
          </a:p>
        </p:txBody>
      </p:sp>
    </p:spTree>
    <p:extLst>
      <p:ext uri="{BB962C8B-B14F-4D97-AF65-F5344CB8AC3E}">
        <p14:creationId xmlns:p14="http://schemas.microsoft.com/office/powerpoint/2010/main" val="172267631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pag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A1A9C5EE-AD9B-C973-7EC3-E784E884F5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2171" y="2189877"/>
            <a:ext cx="6367270" cy="19236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ts val="7500"/>
              </a:lnSpc>
              <a:spcBef>
                <a:spcPct val="0"/>
              </a:spcBef>
              <a:buNone/>
              <a:defRPr lang="en-US" sz="6000" b="1" kern="1200" cap="none" spc="-300" baseline="0" dirty="0">
                <a:ln w="3175">
                  <a:noFill/>
                </a:ln>
                <a:solidFill>
                  <a:schemeClr val="tx2"/>
                </a:solidFill>
                <a:effectLst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962FB5EE-A7CB-45F1-0F33-06C38CDC6B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2171" y="4345640"/>
            <a:ext cx="5430837" cy="276999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2107370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4BA348-F68E-023A-1A5A-EFE139D96C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01044D7-CF4A-01E2-7256-0F8BBA942CC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138E9D-0CEB-6E09-4308-B03E91D3BE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41C675-5C63-4E7B-9B30-AF39B96618A2}" type="datetimeFigureOut">
              <a:rPr lang="en-US" smtClean="0"/>
              <a:t>8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5B00B8-CC34-BD17-EC84-F0FD5DCE17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EFA591-F17F-014C-ED54-AFFADE3DB9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ADBC9-04FC-4DEC-A1D5-2867DC1E86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397727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2EC95A-1D76-C91D-2E10-08FC33C38C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09CBB7-DEB0-9E54-7D57-E7E20BE9F51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EAF4AF-733B-E620-DF1F-7D563F23E6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41C675-5C63-4E7B-9B30-AF39B96618A2}" type="datetimeFigureOut">
              <a:rPr lang="en-US" smtClean="0"/>
              <a:t>8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BDC2F9-CF57-1E17-6B4E-89A207095D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182437-6DEB-21FC-E224-5C7614D56B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ADBC9-04FC-4DEC-A1D5-2867DC1E86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5510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2698D1-C774-6162-84E0-E571C7E80C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A0E9F2-81AD-906F-E758-A9BED751BA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CECB1F-3747-2EA4-B48B-E8380EF168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41C675-5C63-4E7B-9B30-AF39B96618A2}" type="datetimeFigureOut">
              <a:rPr lang="en-US" smtClean="0"/>
              <a:t>8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53190A-B8E7-A169-FF90-2F1894BF8D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1BC4AC-941F-0B31-9B2D-C16863CD1E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ADBC9-04FC-4DEC-A1D5-2867DC1E86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327991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0671D9-8931-3E6F-D59D-537BDDED71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054D5C-6B47-EE63-4EF1-E1DA0C3E916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F5CE0EB-427F-2684-D2B9-3DAA234D49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7049273-D65E-625B-6C8B-3A633DF919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41C675-5C63-4E7B-9B30-AF39B96618A2}" type="datetimeFigureOut">
              <a:rPr lang="en-US" smtClean="0"/>
              <a:t>8/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83108F6-4D77-1C83-14EC-7C26E4FD62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082C2E0-C7CF-C962-7B41-2BD1EB5CC8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ADBC9-04FC-4DEC-A1D5-2867DC1E86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911610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954F7-CAEF-DAB1-34CE-05531F2ACA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8045677-5790-A0C8-C929-EAA2331ECB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A70FF2E-130F-07B7-39E6-D22CB13E66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AFD4B1-B118-19DA-9B93-550AB2FA15F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A38E748-B4A9-80F3-C426-A87E49D58CB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367DACD-28AF-7515-6E60-5DAA76CC12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41C675-5C63-4E7B-9B30-AF39B96618A2}" type="datetimeFigureOut">
              <a:rPr lang="en-US" smtClean="0"/>
              <a:t>8/5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86BCB4D-8D4F-6B4D-AB07-9FBDBD1327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F4D3BB3-0BEB-B93B-EBFB-24EF11EFCF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ADBC9-04FC-4DEC-A1D5-2867DC1E86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201904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A36839-D9A3-5483-1963-D3D943D8C1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E936F6-BE1B-465F-58A0-CE61DF55D3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41C675-5C63-4E7B-9B30-AF39B96618A2}" type="datetimeFigureOut">
              <a:rPr lang="en-US" smtClean="0"/>
              <a:t>8/5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245ABB-2716-9BB6-F458-ECEDF57EE6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9649C2-F049-3F4C-7351-A494E21765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ADBC9-04FC-4DEC-A1D5-2867DC1E86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998010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474B410-4447-E38E-7378-1076EBBF2A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41C675-5C63-4E7B-9B30-AF39B96618A2}" type="datetimeFigureOut">
              <a:rPr lang="en-US" smtClean="0"/>
              <a:t>8/5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CAA681-A4E3-DC5B-4290-BD484614E2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B70038-5492-CD05-8CFA-CE3BAC5D1B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ADBC9-04FC-4DEC-A1D5-2867DC1E86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951696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1B5EBD-9601-41EC-9F83-6EC5797F82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98E4FD-BF3A-878A-8982-98511C1D8A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4BA11EE-F2BE-97C9-2ECC-1C29B4A058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F73026D-1F9D-7540-E587-ADAD96F6BB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41C675-5C63-4E7B-9B30-AF39B96618A2}" type="datetimeFigureOut">
              <a:rPr lang="en-US" smtClean="0"/>
              <a:t>8/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04097C8-3A8E-AF68-FF11-A4DDE2331D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2E21A97-462A-5503-654C-B805C4D24B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ADBC9-04FC-4DEC-A1D5-2867DC1E86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872066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9229CD-9150-94E7-0C6E-9712B8D826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6B2FD55-8152-1395-48D0-988638602B7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11F0AC9-9B65-5717-4379-444BFC91BB9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2ED1B86-35AE-30E5-1FBD-C1FED39165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41C675-5C63-4E7B-9B30-AF39B96618A2}" type="datetimeFigureOut">
              <a:rPr lang="en-US" smtClean="0"/>
              <a:t>8/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F5AF055-D47F-00EB-082C-16E88600FB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35729B0-7E6D-33B6-A411-B29CFEC88E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ADBC9-04FC-4DEC-A1D5-2867DC1E86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994348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2E0BCA-297D-F80F-7ECA-23160FC4C3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6AC8B39-0287-E6F6-7924-F5F3FF180E0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D928E0-4B0A-3A7A-2EA2-441FA62864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41C675-5C63-4E7B-9B30-AF39B96618A2}" type="datetimeFigureOut">
              <a:rPr lang="en-US" smtClean="0"/>
              <a:t>8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E81F71-881B-7B08-FD75-C1019650B3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9B48C7-7F5E-61F9-E69F-982C1654A8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ADBC9-04FC-4DEC-A1D5-2867DC1E86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0675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pag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A1A9C5EE-AD9B-C973-7EC3-E784E884F5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2171" y="2189877"/>
            <a:ext cx="6367270" cy="19236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ts val="7500"/>
              </a:lnSpc>
              <a:spcBef>
                <a:spcPct val="0"/>
              </a:spcBef>
              <a:buNone/>
              <a:defRPr lang="en-US" sz="6000" b="1" kern="1200" cap="none" spc="-300" baseline="0" dirty="0">
                <a:ln w="3175">
                  <a:noFill/>
                </a:ln>
                <a:solidFill>
                  <a:schemeClr val="bg1"/>
                </a:solidFill>
                <a:effectLst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962FB5EE-A7CB-45F1-0F33-06C38CDC6B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2171" y="4345640"/>
            <a:ext cx="5430837" cy="276999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24521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B1C0C0B-6A4A-6E3D-ED5A-3D20D8A2675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E1B235F-2644-CFC4-371D-81AF15D7C75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FCE44D-D876-F49A-7961-464881B2D7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41C675-5C63-4E7B-9B30-AF39B96618A2}" type="datetimeFigureOut">
              <a:rPr lang="en-US" smtClean="0"/>
              <a:t>8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821C06-7904-0418-59A6-9CB87FC7F1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8B5359-B64F-F24D-B2F6-19A2A2C3E7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ADBC9-04FC-4DEC-A1D5-2867DC1E86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985097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6971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7">
            <a:extLst>
              <a:ext uri="{FF2B5EF4-FFF2-40B4-BE49-F238E27FC236}">
                <a16:creationId xmlns:a16="http://schemas.microsoft.com/office/drawing/2014/main" id="{97D07DB7-7D51-724B-BE5C-77B45E5DB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10747374" cy="1139825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BG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097676-D6A1-2D4B-BDD3-E7E914641366}"/>
              </a:ext>
            </a:extLst>
          </p:cNvPr>
          <p:cNvSpPr txBox="1"/>
          <p:nvPr userDrawn="1"/>
        </p:nvSpPr>
        <p:spPr>
          <a:xfrm>
            <a:off x="722313" y="1780674"/>
            <a:ext cx="10747374" cy="44490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8C9353E-244A-3B4E-B54E-FCA42C0733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313" y="1863725"/>
            <a:ext cx="10747375" cy="4365625"/>
          </a:xfrm>
        </p:spPr>
        <p:txBody>
          <a:bodyPr/>
          <a:lstStyle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BG" dirty="0"/>
          </a:p>
        </p:txBody>
      </p:sp>
    </p:spTree>
    <p:extLst>
      <p:ext uri="{BB962C8B-B14F-4D97-AF65-F5344CB8AC3E}">
        <p14:creationId xmlns:p14="http://schemas.microsoft.com/office/powerpoint/2010/main" val="22896317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8726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348BA764-5690-C74C-98C8-5AD362BFC8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5278437" cy="1139825"/>
          </a:xfrm>
        </p:spPr>
        <p:txBody>
          <a:bodyPr tIns="108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BG"/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D214D3DB-DB34-F441-B966-C041056B089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98748" y="0"/>
            <a:ext cx="5993252" cy="6858000"/>
          </a:xfrm>
          <a:solidFill>
            <a:schemeClr val="bg2"/>
          </a:solidFill>
        </p:spPr>
        <p:txBody>
          <a:bodyPr vert="horz" lIns="91440" tIns="72000" rIns="91440" bIns="756000" rtlCol="0" anchor="ctr">
            <a:noAutofit/>
          </a:bodyPr>
          <a:lstStyle>
            <a:lvl1pPr marL="0" indent="0">
              <a:buNone/>
              <a:defRPr lang="en-US" sz="18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ctr"/>
            <a:r>
              <a:rPr lang="en-GB"/>
              <a:t>Click icon to add picture</a:t>
            </a:r>
            <a:endParaRPr lang="en-US"/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5B3F9C52-3A71-4524-8B14-37E73BA412E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798BE631-707E-324E-A381-F3D99D052E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2313" y="1808922"/>
            <a:ext cx="5278437" cy="442836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8CB971A-E2FD-954D-BF76-66E98685F3A4}"/>
              </a:ext>
            </a:extLst>
          </p:cNvPr>
          <p:cNvSpPr txBox="1"/>
          <p:nvPr userDrawn="1"/>
        </p:nvSpPr>
        <p:spPr>
          <a:xfrm>
            <a:off x="28331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4 </a:t>
            </a:r>
            <a:r>
              <a:rPr lang="en-US" sz="600" b="0" i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198551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5D5159-C5DF-6483-7FD5-07C42A746CC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4B987ED-FC30-9A51-5816-058CEEDC0E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A858534-DDF4-F6FE-6AC2-CE0D981549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794D9-588E-E24C-A605-993A8F6369F4}" type="datetimeFigureOut">
              <a:rPr lang="en-US" smtClean="0"/>
              <a:t>8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C7DFA2-D068-49AF-CE3B-E7A9F6B770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338A14-4D29-1EAC-D84B-30B0A0B89B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79582B-5AF9-484D-AD3F-EF83423FB6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684164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7D9A1E-35D8-5FE6-4DBC-358AD6622C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02E078-2A21-D4F3-2415-874885C820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0AC2AD-5453-E068-9174-A249425BA4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794D9-588E-E24C-A605-993A8F6369F4}" type="datetimeFigureOut">
              <a:rPr lang="en-US" smtClean="0"/>
              <a:t>8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9616F0-BCBD-BADD-D87C-E7AB5C6C2D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B9F684-4215-4086-D71B-34F5176F24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79582B-5AF9-484D-AD3F-EF83423FB6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279917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778363-BCE1-95A2-CD8E-47B52424C1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C977CE-FF49-4D55-2D1C-703220D93D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1A7D49-615B-E7A3-1202-B5A204A1F9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794D9-588E-E24C-A605-993A8F6369F4}" type="datetimeFigureOut">
              <a:rPr lang="en-US" smtClean="0"/>
              <a:t>8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0028AD-D646-EED5-9996-2FFC409FD4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328ACA-4179-98EA-BEC4-1EFB62D129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79582B-5AF9-484D-AD3F-EF83423FB6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477312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C80EDE-D2A9-44C8-4A4C-6F32D794C2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8A0558-5745-B474-AFF2-31D99589157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E1565FB-16E6-9983-E551-1BCD7BF02D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F43E8A5-A746-67A7-319A-2F96104F61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794D9-588E-E24C-A605-993A8F6369F4}" type="datetimeFigureOut">
              <a:rPr lang="en-US" smtClean="0"/>
              <a:t>8/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685BB0-76DB-8A3D-CABE-E2A1E00A05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5E930D-DC5B-8BC1-CB48-E169F02A9D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79582B-5AF9-484D-AD3F-EF83423FB6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885125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126A89-A3C1-9269-BC94-1857B9EAD6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440917-2EF3-F442-45F6-98AF4ABFC6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294E5E1-6897-07A5-E378-40EC451F3CD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87DB094-D6C4-7215-51F9-49707AE6C0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D87F8CC-C87A-B71A-6E68-FC1765D95E9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C126BDF-CA8C-BAB3-0C72-A6F2EB3BE8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794D9-588E-E24C-A605-993A8F6369F4}" type="datetimeFigureOut">
              <a:rPr lang="en-US" smtClean="0"/>
              <a:t>8/5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AB80EDF-342E-806B-28BD-3B6E3E3254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4E52C95-92C1-278B-E0C2-884D7E3971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79582B-5AF9-484D-AD3F-EF83423FB6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725201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6C3F06-8E24-9129-5EFF-B24499D283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5B8ABDA-3C88-17E8-0ED6-51F2805499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794D9-588E-E24C-A605-993A8F6369F4}" type="datetimeFigureOut">
              <a:rPr lang="en-US" smtClean="0"/>
              <a:t>8/5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1368B58-0B95-6F60-B199-8B83CCDF50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3B8C3B1-4D34-1D3C-BA34-680CE8021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79582B-5AF9-484D-AD3F-EF83423FB6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702072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C590A1-8D29-1BD0-260B-486FC8F790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794D9-588E-E24C-A605-993A8F6369F4}" type="datetimeFigureOut">
              <a:rPr lang="en-US" smtClean="0"/>
              <a:t>8/5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537872D-C03C-F5AD-07D6-57F4A94615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4F235C-CBF4-0BB2-EC37-E13B077E2C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79582B-5AF9-484D-AD3F-EF83423FB6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28795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1">
    <p:bg>
      <p:bgPr>
        <a:blipFill dpi="0" rotWithShape="1">
          <a:blip r:embed="rId2">
            <a:lum/>
          </a:blip>
          <a:srcRect/>
          <a:tile tx="-996950" ty="0" sx="60000" sy="6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A1A9C5EE-AD9B-C973-7EC3-E784E884F5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2171" y="2189877"/>
            <a:ext cx="6367270" cy="19236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ts val="7500"/>
              </a:lnSpc>
              <a:spcBef>
                <a:spcPct val="0"/>
              </a:spcBef>
              <a:buNone/>
              <a:defRPr lang="en-US" sz="6000" b="1" kern="1200" cap="none" spc="-300" baseline="0" dirty="0">
                <a:ln w="3175">
                  <a:noFill/>
                </a:ln>
                <a:gradFill flip="none" rotWithShape="1">
                  <a:gsLst>
                    <a:gs pos="58000">
                      <a:schemeClr val="accent1"/>
                    </a:gs>
                    <a:gs pos="100000">
                      <a:srgbClr val="D600AA"/>
                    </a:gs>
                  </a:gsLst>
                  <a:lin ang="3600000" scaled="0"/>
                  <a:tileRect/>
                </a:gradFill>
                <a:effectLst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962FB5EE-A7CB-45F1-0F33-06C38CDC6B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2171" y="4345640"/>
            <a:ext cx="5430837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5414398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EFED47-96CB-34F0-F05E-DC49C169A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0820D7-D2B2-FBA8-F73B-8F77A4EEF6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2A0D223-28B0-42AD-99EC-256218B3197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93AC3C9-A4C7-06B4-EA47-73822A7F64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794D9-588E-E24C-A605-993A8F6369F4}" type="datetimeFigureOut">
              <a:rPr lang="en-US" smtClean="0"/>
              <a:t>8/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873992-ADCC-DDEC-BAFB-512AC0EC4E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EC4A4F2-FDBE-5420-BE5D-DF3B31A22B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79582B-5AF9-484D-AD3F-EF83423FB6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236110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3E37B3-1E5B-7350-F05C-D4DB4727A6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BDFDC1F-7920-4973-B8AD-36F0004970A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A6E9F83-5C37-3FCC-F9EB-B48387FACF5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B05CE0-7D2E-48FA-C772-6522C4EC55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794D9-588E-E24C-A605-993A8F6369F4}" type="datetimeFigureOut">
              <a:rPr lang="en-US" smtClean="0"/>
              <a:t>8/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938140-2FD4-0B03-EE3F-45E07E3A54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D41E0FD-6235-2A2C-91C2-EFD002F8C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79582B-5AF9-484D-AD3F-EF83423FB6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652882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08E923-0312-361E-D921-507392EF3E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540FBCF-827A-674F-39DA-248231B9EAF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5BE319-CA47-7169-E742-E2E659F69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794D9-588E-E24C-A605-993A8F6369F4}" type="datetimeFigureOut">
              <a:rPr lang="en-US" smtClean="0"/>
              <a:t>8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59938A-B42A-3E05-9B4B-88E4723AAE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11503A-3D22-DABE-FB2A-40AF4FCE8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79582B-5AF9-484D-AD3F-EF83423FB6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089522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CEC76B7-B855-B8A6-2A20-6A1BF5BC888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585C2D0-997F-6D78-5BBD-BF8CB8AD66E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12AF54-CE40-087F-28FF-198E724C32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794D9-588E-E24C-A605-993A8F6369F4}" type="datetimeFigureOut">
              <a:rPr lang="en-US" smtClean="0"/>
              <a:t>8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94018A-FB13-9AF8-5F70-300D5467BE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5C8554-04F6-E0E0-5C5B-2CB92E2E22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79582B-5AF9-484D-AD3F-EF83423FB6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85254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pag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logo with purple and blue colors&#10;&#10;Description automatically generated">
            <a:extLst>
              <a:ext uri="{FF2B5EF4-FFF2-40B4-BE49-F238E27FC236}">
                <a16:creationId xmlns:a16="http://schemas.microsoft.com/office/drawing/2014/main" id="{D27D13AD-526A-90B5-459D-1E4E6AC0053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85" y="0"/>
            <a:ext cx="12192000" cy="6858000"/>
          </a:xfrm>
          <a:prstGeom prst="rect">
            <a:avLst/>
          </a:prstGeom>
        </p:spPr>
      </p:pic>
      <p:pic>
        <p:nvPicPr>
          <p:cNvPr id="3" name="Picture 2" descr="A black background with a black rectangle&#10;&#10;Description automatically generated">
            <a:extLst>
              <a:ext uri="{FF2B5EF4-FFF2-40B4-BE49-F238E27FC236}">
                <a16:creationId xmlns:a16="http://schemas.microsoft.com/office/drawing/2014/main" id="{7316EB86-1082-1532-3186-F1078C86353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17996" y="0"/>
            <a:ext cx="7173819" cy="6858000"/>
          </a:xfrm>
          <a:prstGeom prst="rect">
            <a:avLst/>
          </a:prstGeom>
        </p:spPr>
      </p:pic>
      <p:pic>
        <p:nvPicPr>
          <p:cNvPr id="2" name="Picture 1" descr="A black background with a black border&#10;&#10;Description automatically generated with medium confidence">
            <a:extLst>
              <a:ext uri="{FF2B5EF4-FFF2-40B4-BE49-F238E27FC236}">
                <a16:creationId xmlns:a16="http://schemas.microsoft.com/office/drawing/2014/main" id="{DCD7A8E1-BE78-4A44-8DAE-4814D573B8C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7915276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B5DCC040-BEFD-9634-43E9-9121BCAA3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0225" y="2921000"/>
            <a:ext cx="5607937" cy="627830"/>
          </a:xfrm>
        </p:spPr>
        <p:txBody>
          <a:bodyPr vert="horz" wrap="square" lIns="0" tIns="0" rIns="0" bIns="0" rtlCol="0" anchor="ctr" anchorCtr="0">
            <a:noAutofit/>
          </a:bodyPr>
          <a:lstStyle>
            <a:lvl1pPr algn="l" defTabSz="932742" rtl="0" eaLnBrk="1" latinLnBrk="0" hangingPunct="1">
              <a:lnSpc>
                <a:spcPts val="7500"/>
              </a:lnSpc>
              <a:spcBef>
                <a:spcPct val="0"/>
              </a:spcBef>
              <a:buNone/>
              <a:defRPr lang="en-US" sz="6000" b="1" kern="1200" cap="none" spc="0" baseline="0" dirty="0">
                <a:ln w="3175">
                  <a:noFill/>
                </a:ln>
                <a:gradFill flip="none" rotWithShape="1">
                  <a:gsLst>
                    <a:gs pos="100000">
                      <a:schemeClr val="accent2"/>
                    </a:gs>
                    <a:gs pos="22000">
                      <a:schemeClr val="accent1"/>
                    </a:gs>
                  </a:gsLst>
                  <a:lin ang="3600000" scaled="0"/>
                  <a:tileRect/>
                </a:gradFill>
                <a:effectLst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 algn="l" defTabSz="932742" rtl="0" eaLnBrk="1" latinLnBrk="0" hangingPunct="1">
              <a:lnSpc>
                <a:spcPts val="7500"/>
              </a:lnSpc>
              <a:spcBef>
                <a:spcPct val="0"/>
              </a:spcBef>
              <a:buNone/>
            </a:pPr>
            <a:r>
              <a:rPr lang="en-US"/>
              <a:t>00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4CC5BF35-9D1A-6EF1-55CB-2D658CA913B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2613" y="3713931"/>
            <a:ext cx="5430837" cy="492443"/>
          </a:xfrm>
        </p:spPr>
        <p:txBody>
          <a:bodyPr/>
          <a:lstStyle>
            <a:lvl1pPr>
              <a:defRPr sz="3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2480871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pag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ack background with a black border&#10;&#10;Description automatically generated with medium confidence">
            <a:extLst>
              <a:ext uri="{FF2B5EF4-FFF2-40B4-BE49-F238E27FC236}">
                <a16:creationId xmlns:a16="http://schemas.microsoft.com/office/drawing/2014/main" id="{DCD7A8E1-BE78-4A44-8DAE-4814D573B8C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7915276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B5DCC040-BEFD-9634-43E9-9121BCAA3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0225" y="2921000"/>
            <a:ext cx="5607937" cy="627830"/>
          </a:xfrm>
        </p:spPr>
        <p:txBody>
          <a:bodyPr vert="horz" wrap="square" lIns="0" tIns="0" rIns="0" bIns="0" rtlCol="0" anchor="ctr" anchorCtr="0">
            <a:noAutofit/>
          </a:bodyPr>
          <a:lstStyle>
            <a:lvl1pPr algn="l" defTabSz="932742" rtl="0" eaLnBrk="1" latinLnBrk="0" hangingPunct="1">
              <a:lnSpc>
                <a:spcPts val="7500"/>
              </a:lnSpc>
              <a:spcBef>
                <a:spcPct val="0"/>
              </a:spcBef>
              <a:buNone/>
              <a:defRPr lang="en-US" sz="6000" b="1" kern="1200" cap="none" spc="0" baseline="0" dirty="0">
                <a:ln w="3175">
                  <a:noFill/>
                </a:ln>
                <a:gradFill flip="none" rotWithShape="1">
                  <a:gsLst>
                    <a:gs pos="100000">
                      <a:schemeClr val="accent2"/>
                    </a:gs>
                    <a:gs pos="22000">
                      <a:schemeClr val="accent1"/>
                    </a:gs>
                  </a:gsLst>
                  <a:lin ang="3600000" scaled="0"/>
                  <a:tileRect/>
                </a:gradFill>
                <a:effectLst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 algn="l" defTabSz="932742" rtl="0" eaLnBrk="1" latinLnBrk="0" hangingPunct="1">
              <a:lnSpc>
                <a:spcPts val="7500"/>
              </a:lnSpc>
              <a:spcBef>
                <a:spcPct val="0"/>
              </a:spcBef>
              <a:buNone/>
            </a:pPr>
            <a:r>
              <a:rPr lang="en-US"/>
              <a:t>00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4CC5BF35-9D1A-6EF1-55CB-2D658CA913B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2613" y="3713931"/>
            <a:ext cx="5430837" cy="492443"/>
          </a:xfrm>
        </p:spPr>
        <p:txBody>
          <a:bodyPr/>
          <a:lstStyle>
            <a:lvl1pPr>
              <a:defRPr sz="3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1848027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pag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urple and pink balls&#10;&#10;Description automatically generated with medium confidence">
            <a:extLst>
              <a:ext uri="{FF2B5EF4-FFF2-40B4-BE49-F238E27FC236}">
                <a16:creationId xmlns:a16="http://schemas.microsoft.com/office/drawing/2014/main" id="{7EBFCEFD-4763-6100-3253-A140270CAFD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 descr="A black background with a black rectangle&#10;&#10;Description automatically generated">
            <a:extLst>
              <a:ext uri="{FF2B5EF4-FFF2-40B4-BE49-F238E27FC236}">
                <a16:creationId xmlns:a16="http://schemas.microsoft.com/office/drawing/2014/main" id="{7316EB86-1082-1532-3186-F1078C86353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17996" y="0"/>
            <a:ext cx="7173819" cy="6858000"/>
          </a:xfrm>
          <a:prstGeom prst="rect">
            <a:avLst/>
          </a:prstGeom>
        </p:spPr>
      </p:pic>
      <p:pic>
        <p:nvPicPr>
          <p:cNvPr id="2" name="Picture 1" descr="A black background with a black border&#10;&#10;Description automatically generated with medium confidence">
            <a:extLst>
              <a:ext uri="{FF2B5EF4-FFF2-40B4-BE49-F238E27FC236}">
                <a16:creationId xmlns:a16="http://schemas.microsoft.com/office/drawing/2014/main" id="{DCD7A8E1-BE78-4A44-8DAE-4814D573B8C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7915276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B5DCC040-BEFD-9634-43E9-9121BCAA3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0225" y="2921000"/>
            <a:ext cx="5607937" cy="627830"/>
          </a:xfrm>
        </p:spPr>
        <p:txBody>
          <a:bodyPr vert="horz" wrap="square" lIns="0" tIns="0" rIns="0" bIns="0" rtlCol="0" anchor="ctr" anchorCtr="0">
            <a:noAutofit/>
          </a:bodyPr>
          <a:lstStyle>
            <a:lvl1pPr algn="l" defTabSz="932742" rtl="0" eaLnBrk="1" latinLnBrk="0" hangingPunct="1">
              <a:lnSpc>
                <a:spcPts val="7500"/>
              </a:lnSpc>
              <a:spcBef>
                <a:spcPct val="0"/>
              </a:spcBef>
              <a:buNone/>
              <a:defRPr lang="en-US" sz="6000" b="1" kern="1200" cap="none" spc="0" baseline="0" dirty="0">
                <a:ln w="3175">
                  <a:noFill/>
                </a:ln>
                <a:gradFill flip="none" rotWithShape="1">
                  <a:gsLst>
                    <a:gs pos="100000">
                      <a:schemeClr val="accent2"/>
                    </a:gs>
                    <a:gs pos="22000">
                      <a:schemeClr val="accent1"/>
                    </a:gs>
                  </a:gsLst>
                  <a:lin ang="3600000" scaled="0"/>
                  <a:tileRect/>
                </a:gradFill>
                <a:effectLst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 algn="l" defTabSz="932742" rtl="0" eaLnBrk="1" latinLnBrk="0" hangingPunct="1">
              <a:lnSpc>
                <a:spcPts val="7500"/>
              </a:lnSpc>
              <a:spcBef>
                <a:spcPct val="0"/>
              </a:spcBef>
              <a:buNone/>
            </a:pPr>
            <a:r>
              <a:rPr lang="en-US"/>
              <a:t>00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4CC5BF35-9D1A-6EF1-55CB-2D658CA913B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2613" y="3713931"/>
            <a:ext cx="5430837" cy="492443"/>
          </a:xfrm>
        </p:spPr>
        <p:txBody>
          <a:bodyPr/>
          <a:lstStyle>
            <a:lvl1pPr>
              <a:defRPr sz="3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79359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ack and purple background&#10;&#10;Description automatically generated">
            <a:extLst>
              <a:ext uri="{FF2B5EF4-FFF2-40B4-BE49-F238E27FC236}">
                <a16:creationId xmlns:a16="http://schemas.microsoft.com/office/drawing/2014/main" id="{4A32E974-DC8B-EA22-6FD6-BB7F042E2B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-1" y="2031610"/>
            <a:ext cx="12191999" cy="482639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DF2D5AF-D3EE-9FE9-17CA-38F79C0991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0960" y="1724627"/>
            <a:ext cx="11050081" cy="615553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3E151E17-299D-0A92-45C9-BED3664323C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88750" y="4106047"/>
            <a:ext cx="2313432" cy="55399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tx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 sit amet elit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9E46301-3A68-CC3E-45CC-818C41F5832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9284" y="4106047"/>
            <a:ext cx="2313432" cy="55399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tx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24213C95-8A35-2CB3-F9F8-DBC451E9878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89820" y="4106047"/>
            <a:ext cx="2313432" cy="55399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tx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8BB362A-BDC6-A7E5-2494-31EC9725D6C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6948" y="3132820"/>
            <a:ext cx="1718105" cy="738664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4800" b="1">
                <a:gradFill>
                  <a:gsLst>
                    <a:gs pos="16000">
                      <a:schemeClr val="accent1"/>
                    </a:gs>
                    <a:gs pos="100000">
                      <a:schemeClr val="accent2"/>
                    </a:gs>
                  </a:gsLst>
                  <a:lin ang="2700000" scaled="1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5564948-DBA9-4296-2B21-C0328D679F7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86414" y="3132820"/>
            <a:ext cx="1718105" cy="738664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4800" b="1">
                <a:gradFill>
                  <a:gsLst>
                    <a:gs pos="16000">
                      <a:schemeClr val="accent1"/>
                    </a:gs>
                    <a:gs pos="100000">
                      <a:schemeClr val="accent2"/>
                    </a:gs>
                  </a:gsLst>
                  <a:lin ang="2700000" scaled="1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079751F-C88A-CB88-925B-DC19ABF4BC3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87484" y="3132820"/>
            <a:ext cx="1718105" cy="738664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4800" b="1">
                <a:gradFill>
                  <a:gsLst>
                    <a:gs pos="16000">
                      <a:schemeClr val="accent1"/>
                    </a:gs>
                    <a:gs pos="100000">
                      <a:schemeClr val="accent2"/>
                    </a:gs>
                  </a:gsLst>
                  <a:lin ang="2700000" scaled="1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</p:spTree>
    <p:extLst>
      <p:ext uri="{BB962C8B-B14F-4D97-AF65-F5344CB8AC3E}">
        <p14:creationId xmlns:p14="http://schemas.microsoft.com/office/powerpoint/2010/main" val="384673486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5296" y="2125629"/>
            <a:ext cx="5443720" cy="123110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75296" y="3597951"/>
            <a:ext cx="5443722" cy="116339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974DFFC-E26C-FF7F-92C1-388763AECEB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1" cstate="screen">
            <a:alphaModFix amt="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1337" y="512466"/>
            <a:ext cx="11069326" cy="5833068"/>
          </a:xfrm>
          <a:prstGeom prst="rect">
            <a:avLst/>
          </a:prstGeom>
          <a:noFill/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186896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62" r:id="rId1"/>
    <p:sldLayoutId id="2147485764" r:id="rId2"/>
    <p:sldLayoutId id="2147485763" r:id="rId3"/>
    <p:sldLayoutId id="2147485765" r:id="rId4"/>
    <p:sldLayoutId id="2147485741" r:id="rId5"/>
    <p:sldLayoutId id="2147485766" r:id="rId6"/>
    <p:sldLayoutId id="2147485768" r:id="rId7"/>
    <p:sldLayoutId id="2147485740" r:id="rId8"/>
    <p:sldLayoutId id="2147485594" r:id="rId9"/>
    <p:sldLayoutId id="2147485683" r:id="rId10"/>
    <p:sldLayoutId id="2147485756" r:id="rId11"/>
    <p:sldLayoutId id="2147485566" r:id="rId12"/>
    <p:sldLayoutId id="2147485729" r:id="rId13"/>
    <p:sldLayoutId id="2147485733" r:id="rId14"/>
    <p:sldLayoutId id="2147485706" r:id="rId15"/>
    <p:sldLayoutId id="2147485761" r:id="rId16"/>
    <p:sldLayoutId id="2147485754" r:id="rId17"/>
    <p:sldLayoutId id="2147485534" r:id="rId18"/>
    <p:sldLayoutId id="2147485718" r:id="rId19"/>
    <p:sldLayoutId id="2147485715" r:id="rId20"/>
    <p:sldLayoutId id="2147485545" r:id="rId21"/>
    <p:sldLayoutId id="2147485730" r:id="rId22"/>
    <p:sldLayoutId id="2147485661" r:id="rId23"/>
    <p:sldLayoutId id="2147485639" r:id="rId24"/>
    <p:sldLayoutId id="2147485600" r:id="rId25"/>
    <p:sldLayoutId id="2147485655" r:id="rId26"/>
    <p:sldLayoutId id="2147485760" r:id="rId27"/>
    <p:sldLayoutId id="2147485638" r:id="rId28"/>
    <p:sldLayoutId id="2147485767" r:id="rId29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4000" b="1" kern="1200" cap="none" spc="0" baseline="0" dirty="0" smtClean="0">
          <a:ln w="3175">
            <a:noFill/>
          </a:ln>
          <a:solidFill>
            <a:schemeClr val="tx1"/>
          </a:solidFill>
          <a:effectLst/>
          <a:latin typeface="Open Sans ExtraBold" panose="020B0606030504020204" pitchFamily="34" charset="0"/>
          <a:ea typeface="Open Sans ExtraBold" panose="020B0606030504020204" pitchFamily="34" charset="0"/>
          <a:cs typeface="Open Sans ExtraBold" panose="020B0606030504020204" pitchFamily="34" charset="0"/>
        </a:defRPr>
      </a:lvl1pPr>
    </p:titleStyle>
    <p:bodyStyle>
      <a:lvl1pPr marL="0" marR="0" indent="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accent2"/>
        </a:buClr>
        <a:buSzPct val="90000"/>
        <a:buFontTx/>
        <a:buNone/>
        <a:tabLst/>
        <a:defRPr sz="1800" b="1" kern="1200" spc="0" baseline="0">
          <a:solidFill>
            <a:schemeClr val="tx1"/>
          </a:solidFill>
          <a:latin typeface="Open Sans ExtraBold" panose="020B0606030504020204" pitchFamily="34" charset="0"/>
          <a:ea typeface="Open Sans ExtraBold" panose="020B0606030504020204" pitchFamily="34" charset="0"/>
          <a:cs typeface="Open Sans ExtraBold" panose="020B0606030504020204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accent5"/>
        </a:buClr>
        <a:buSzPct val="90000"/>
        <a:buFont typeface="Arial" panose="020B0604020202020204" pitchFamily="34" charset="0"/>
        <a:buChar char="•"/>
        <a:tabLst/>
        <a:defRPr sz="1200" b="0" kern="1200" spc="0" baseline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accent5"/>
        </a:buClr>
        <a:buSzPct val="90000"/>
        <a:buFont typeface="Arial" panose="020B0604020202020204" pitchFamily="34" charset="0"/>
        <a:buChar char="•"/>
        <a:tabLst/>
        <a:defRPr sz="1200" b="0" kern="1200" spc="0" baseline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accent5"/>
        </a:buClr>
        <a:buSzPct val="90000"/>
        <a:buFont typeface="Arial" panose="020B0604020202020204" pitchFamily="34" charset="0"/>
        <a:buChar char="•"/>
        <a:tabLst/>
        <a:defRPr sz="1200" b="0" kern="1200" spc="0" baseline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accent5"/>
        </a:buClr>
        <a:buSzPct val="90000"/>
        <a:buFont typeface="Arial" panose="020B0604020202020204" pitchFamily="34" charset="0"/>
        <a:buChar char="•"/>
        <a:tabLst/>
        <a:defRPr sz="1200" b="0" kern="1200" spc="0" baseline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0" userDrawn="1">
          <p15:clr>
            <a:srgbClr val="C35EA4"/>
          </p15:clr>
        </p15:guide>
        <p15:guide id="17" pos="7320" userDrawn="1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92" userDrawn="1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88" userDrawn="1">
          <p15:clr>
            <a:srgbClr val="A4A3A4"/>
          </p15:clr>
        </p15:guide>
        <p15:guide id="31" orient="horz" pos="400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78D9BD1-11B3-4563-76AC-9A606CE9B4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692ED55-453D-3BE5-9496-293CCFF927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50F6C6-F6B9-86C5-0D28-44B8FEB6719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D41C675-5C63-4E7B-9B30-AF39B96618A2}" type="datetimeFigureOut">
              <a:rPr lang="en-US" smtClean="0"/>
              <a:t>8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658837-1414-4AB3-8019-BBA4FFEDD0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AAF85D-9A5A-70A1-574E-69C4B8534F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40ADBC9-04FC-4DEC-A1D5-2867DC1E86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69879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70" r:id="rId1"/>
    <p:sldLayoutId id="2147485771" r:id="rId2"/>
    <p:sldLayoutId id="2147485772" r:id="rId3"/>
    <p:sldLayoutId id="2147485773" r:id="rId4"/>
    <p:sldLayoutId id="2147485774" r:id="rId5"/>
    <p:sldLayoutId id="2147485775" r:id="rId6"/>
    <p:sldLayoutId id="2147485776" r:id="rId7"/>
    <p:sldLayoutId id="2147485777" r:id="rId8"/>
    <p:sldLayoutId id="2147485778" r:id="rId9"/>
    <p:sldLayoutId id="2147485779" r:id="rId10"/>
    <p:sldLayoutId id="2147485780" r:id="rId11"/>
    <p:sldLayoutId id="2147485781" r:id="rId12"/>
    <p:sldLayoutId id="2147485782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1E0C4EF-5369-4D57-5FE6-CB7692E7A6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71D012-CB10-2B92-8A7A-79678EBFFA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B5E288-D17D-EFCB-8F0C-741E585ED20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C794D9-588E-E24C-A605-993A8F6369F4}" type="datetimeFigureOut">
              <a:rPr lang="en-US" smtClean="0"/>
              <a:t>8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A238E2-8821-92DB-3A7D-DD3D461F95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4AEDAE-26FF-A28B-9870-505F65F12E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79582B-5AF9-484D-AD3F-EF83423FB6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70879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84" r:id="rId1"/>
    <p:sldLayoutId id="2147485785" r:id="rId2"/>
    <p:sldLayoutId id="2147485786" r:id="rId3"/>
    <p:sldLayoutId id="2147485787" r:id="rId4"/>
    <p:sldLayoutId id="2147485788" r:id="rId5"/>
    <p:sldLayoutId id="2147485789" r:id="rId6"/>
    <p:sldLayoutId id="2147485790" r:id="rId7"/>
    <p:sldLayoutId id="2147485791" r:id="rId8"/>
    <p:sldLayoutId id="2147485792" r:id="rId9"/>
    <p:sldLayoutId id="2147485793" r:id="rId10"/>
    <p:sldLayoutId id="214748579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demos.telerik.com/blazor-ui/blazorlab/grid-smart-ai-search" TargetMode="External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42.xml"/><Relationship Id="rId4" Type="http://schemas.openxmlformats.org/officeDocument/2006/relationships/hyperlink" Target="https://demos.telerik.com/blazor-ui/blazorlab/combobox-smart-ai-search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4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danroth27/BlazorChatApp" TargetMode="External"/><Relationship Id="rId3" Type="http://schemas.openxmlformats.org/officeDocument/2006/relationships/image" Target="../media/image14.png"/><Relationship Id="rId7" Type="http://schemas.openxmlformats.org/officeDocument/2006/relationships/hyperlink" Target="https://github.com/dotnet/eShopSupport" TargetMode="External"/><Relationship Id="rId12" Type="http://schemas.openxmlformats.org/officeDocument/2006/relationships/hyperlink" Target="https://blazor.net/" TargetMode="Externa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8.xml"/><Relationship Id="rId6" Type="http://schemas.openxmlformats.org/officeDocument/2006/relationships/hyperlink" Target="https://github.com/dotnet/ai-samples" TargetMode="External"/><Relationship Id="rId11" Type="http://schemas.openxmlformats.org/officeDocument/2006/relationships/hyperlink" Target="https://syncfusion.com/blazor" TargetMode="External"/><Relationship Id="rId5" Type="http://schemas.openxmlformats.org/officeDocument/2006/relationships/hyperlink" Target="https://aka.ms/dotnet/smart-components" TargetMode="External"/><Relationship Id="rId10" Type="http://schemas.openxmlformats.org/officeDocument/2006/relationships/hyperlink" Target="https://devexpress.com/blazor" TargetMode="External"/><Relationship Id="rId4" Type="http://schemas.openxmlformats.org/officeDocument/2006/relationships/image" Target="../media/image16.png"/><Relationship Id="rId9" Type="http://schemas.openxmlformats.org/officeDocument/2006/relationships/hyperlink" Target="https://telerik.com/blazor-ui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3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7" Type="http://schemas.openxmlformats.org/officeDocument/2006/relationships/image" Target="../media/image44.sv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43.png"/><Relationship Id="rId5" Type="http://schemas.openxmlformats.org/officeDocument/2006/relationships/image" Target="../media/image42.svg"/><Relationship Id="rId4" Type="http://schemas.openxmlformats.org/officeDocument/2006/relationships/image" Target="../media/image4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gi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4831E9-806D-56D7-4095-C39452C4BA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170" y="2187146"/>
            <a:ext cx="8858392" cy="1842107"/>
          </a:xfrm>
        </p:spPr>
        <p:txBody>
          <a:bodyPr/>
          <a:lstStyle/>
          <a:p>
            <a:r>
              <a:rPr lang="en-US" sz="4800" dirty="0"/>
              <a:t>Build interactive AI-powered web apps with Blazor &amp; .NE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93B17C-A5F3-7112-7EEE-37D4CBA80A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2171" y="4345640"/>
            <a:ext cx="5430837" cy="1274195"/>
          </a:xfrm>
        </p:spPr>
        <p:txBody>
          <a:bodyPr/>
          <a:lstStyle/>
          <a:p>
            <a:r>
              <a:rPr lang="en-US" dirty="0"/>
              <a:t>Daniel Roth</a:t>
            </a:r>
          </a:p>
          <a:p>
            <a:r>
              <a:rPr lang="en-US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duct Manager</a:t>
            </a:r>
          </a:p>
          <a:p>
            <a:r>
              <a:rPr lang="en-US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icrosoft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4734550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E67072-CE5F-1AA7-8DE2-C98A7E024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5278437" cy="1410953"/>
          </a:xfrm>
        </p:spPr>
        <p:txBody>
          <a:bodyPr/>
          <a:lstStyle/>
          <a:p>
            <a:r>
              <a:rPr lang="en-US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Metric"/>
              </a:rPr>
              <a:t>Experimental Smart (AI) Components </a:t>
            </a:r>
            <a:r>
              <a:rPr lang="en-US" b="0" i="0" dirty="0">
                <a:solidFill>
                  <a:srgbClr val="383F55"/>
                </a:solidFill>
                <a:effectLst/>
                <a:highlight>
                  <a:srgbClr val="FFFFFF"/>
                </a:highlight>
                <a:latin typeface="Metric"/>
              </a:rPr>
              <a:t>🧪</a:t>
            </a:r>
            <a:endParaRPr lang="en-US" dirty="0">
              <a:solidFill>
                <a:schemeClr val="accent1"/>
              </a:solidFill>
            </a:endParaRP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C107142-068A-59FA-91A5-9C9534CFC9E9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/>
          <a:srcRect l="88" t="-12531" r="29558" b="-15371"/>
          <a:stretch/>
        </p:blipFill>
        <p:spPr>
          <a:xfrm>
            <a:off x="6198748" y="0"/>
            <a:ext cx="5993252" cy="6858000"/>
          </a:xfr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EEF782F-C416-CE87-3E41-1CD3991EF28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2313" y="1949117"/>
            <a:ext cx="5381640" cy="4288172"/>
          </a:xfrm>
        </p:spPr>
        <p:txBody>
          <a:bodyPr/>
          <a:lstStyle/>
          <a:p>
            <a:r>
              <a:rPr lang="en-US" b="1" i="0" dirty="0">
                <a:solidFill>
                  <a:schemeClr val="accent1"/>
                </a:solidFill>
                <a:effectLst/>
                <a:highlight>
                  <a:srgbClr val="FFFFFF"/>
                </a:highlight>
                <a:latin typeface="Metric"/>
              </a:rPr>
              <a:t>Telerik UI for Blazor &amp; ASP.NET Core</a:t>
            </a:r>
            <a:endParaRPr lang="en-US" b="1" i="0" dirty="0">
              <a:solidFill>
                <a:srgbClr val="383F55"/>
              </a:solidFill>
              <a:effectLst/>
              <a:highlight>
                <a:srgbClr val="FFFFFF"/>
              </a:highlight>
              <a:latin typeface="Metric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383F55"/>
                </a:solidFill>
                <a:effectLst/>
                <a:highlight>
                  <a:srgbClr val="FFFFFF"/>
                </a:highlight>
                <a:latin typeface="Metric"/>
              </a:rPr>
              <a:t>AI integration: </a:t>
            </a:r>
          </a:p>
          <a:p>
            <a:pPr marL="790575" lvl="1" indent="-342900"/>
            <a:r>
              <a:rPr lang="en-US" u="sng" dirty="0">
                <a:solidFill>
                  <a:srgbClr val="3D57D8"/>
                </a:solidFill>
                <a:highlight>
                  <a:srgbClr val="FFFFFF"/>
                </a:highlight>
                <a:latin typeface="Metric"/>
                <a:hlinkClick r:id="rId3"/>
              </a:rPr>
              <a:t>Contextual </a:t>
            </a:r>
            <a:r>
              <a:rPr lang="en-US" b="0" i="0" u="sng" dirty="0">
                <a:solidFill>
                  <a:srgbClr val="3D57D8"/>
                </a:solidFill>
                <a:effectLst/>
                <a:highlight>
                  <a:srgbClr val="FFFFFF"/>
                </a:highlight>
                <a:latin typeface="Metric"/>
                <a:hlinkClick r:id="rId3"/>
              </a:rPr>
              <a:t>Grid Smart (AI) Search</a:t>
            </a:r>
            <a:endParaRPr lang="en-US" b="0" i="0" u="sng" dirty="0">
              <a:solidFill>
                <a:srgbClr val="3D57D8"/>
              </a:solidFill>
              <a:effectLst/>
              <a:highlight>
                <a:srgbClr val="FFFFFF"/>
              </a:highlight>
              <a:latin typeface="Metric"/>
            </a:endParaRPr>
          </a:p>
          <a:p>
            <a:pPr marL="790575" lvl="1" indent="-342900"/>
            <a:r>
              <a:rPr lang="en-US" b="0" i="0" u="sng" dirty="0">
                <a:solidFill>
                  <a:srgbClr val="3D57D8"/>
                </a:solidFill>
                <a:effectLst/>
                <a:highlight>
                  <a:srgbClr val="FFFFFF"/>
                </a:highlight>
                <a:latin typeface="Metric"/>
                <a:hlinkClick r:id="rId4"/>
              </a:rPr>
              <a:t>Contextual </a:t>
            </a:r>
            <a:r>
              <a:rPr lang="en-US" b="0" i="0" u="sng" dirty="0" err="1">
                <a:solidFill>
                  <a:srgbClr val="3D57D8"/>
                </a:solidFill>
                <a:effectLst/>
                <a:highlight>
                  <a:srgbClr val="FFFFFF"/>
                </a:highlight>
                <a:latin typeface="Metric"/>
                <a:hlinkClick r:id="rId4"/>
              </a:rPr>
              <a:t>ComboBox</a:t>
            </a:r>
            <a:r>
              <a:rPr lang="en-US" b="0" i="0" u="sng" dirty="0">
                <a:solidFill>
                  <a:srgbClr val="3D57D8"/>
                </a:solidFill>
                <a:effectLst/>
                <a:highlight>
                  <a:srgbClr val="FFFFFF"/>
                </a:highlight>
                <a:latin typeface="Metric"/>
                <a:hlinkClick r:id="rId4"/>
              </a:rPr>
              <a:t> Smart (AI) Search</a:t>
            </a:r>
            <a:r>
              <a:rPr lang="en-US" b="0" i="0" dirty="0">
                <a:solidFill>
                  <a:srgbClr val="383F55"/>
                </a:solidFill>
                <a:effectLst/>
                <a:highlight>
                  <a:srgbClr val="FFFFFF"/>
                </a:highlight>
                <a:latin typeface="Metric"/>
              </a:rPr>
              <a:t> </a:t>
            </a:r>
          </a:p>
          <a:p>
            <a:pPr marL="790575" lvl="1" indent="-342900"/>
            <a:r>
              <a:rPr lang="en-US" u="sng" dirty="0" err="1">
                <a:solidFill>
                  <a:srgbClr val="3D57D8"/>
                </a:solidFill>
                <a:highlight>
                  <a:srgbClr val="FFFFFF"/>
                </a:highlight>
                <a:latin typeface="Metric"/>
              </a:rPr>
              <a:t>PDFViewer</a:t>
            </a:r>
            <a:r>
              <a:rPr lang="en-US" u="sng" dirty="0">
                <a:solidFill>
                  <a:srgbClr val="3D57D8"/>
                </a:solidFill>
                <a:highlight>
                  <a:srgbClr val="FFFFFF"/>
                </a:highlight>
                <a:latin typeface="Metric"/>
              </a:rPr>
              <a:t> with Smart (AI) Assisted Search Integration</a:t>
            </a:r>
            <a:r>
              <a:rPr lang="en-US" b="0" i="0" u="sng" dirty="0">
                <a:solidFill>
                  <a:srgbClr val="3D57D8"/>
                </a:solidFill>
                <a:effectLst/>
                <a:highlight>
                  <a:srgbClr val="FFFFFF"/>
                </a:highlight>
                <a:latin typeface="Metric"/>
              </a:rPr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77492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">
            <a:extLst>
              <a:ext uri="{FF2B5EF4-FFF2-40B4-BE49-F238E27FC236}">
                <a16:creationId xmlns:a16="http://schemas.microsoft.com/office/drawing/2014/main" id="{A31D2638-B371-CC23-F1C7-7EF705CDB9FB}"/>
              </a:ext>
            </a:extLst>
          </p:cNvPr>
          <p:cNvSpPr/>
          <p:nvPr/>
        </p:nvSpPr>
        <p:spPr>
          <a:xfrm>
            <a:off x="1490" y="6791556"/>
            <a:ext cx="12201939" cy="82068"/>
          </a:xfrm>
          <a:prstGeom prst="rect">
            <a:avLst/>
          </a:prstGeom>
          <a:solidFill>
            <a:srgbClr val="FF7100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marL="0" marR="0" lvl="0" indent="0" algn="ctr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sym typeface="Helvetica Neue Medium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4BCBFB1-7781-04DB-3553-C8AC5C3DEED6}"/>
              </a:ext>
            </a:extLst>
          </p:cNvPr>
          <p:cNvSpPr txBox="1">
            <a:spLocks/>
          </p:cNvSpPr>
          <p:nvPr/>
        </p:nvSpPr>
        <p:spPr>
          <a:xfrm>
            <a:off x="551484" y="379024"/>
            <a:ext cx="11089032" cy="56275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Calibri" panose="020F0502020204030204" pitchFamily="34" charset="0"/>
                <a:cs typeface="Arial"/>
              </a:rPr>
              <a:t>DevExpress AI-Powered Enhancements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02-Logo.png" descr="02-Logo.png">
            <a:extLst>
              <a:ext uri="{FF2B5EF4-FFF2-40B4-BE49-F238E27FC236}">
                <a16:creationId xmlns:a16="http://schemas.microsoft.com/office/drawing/2014/main" id="{969F0004-71A4-5B30-9C2C-803C8C94F5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98000" y="5842000"/>
            <a:ext cx="2178050" cy="35560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EAACD66-316C-8875-410E-18B7D2FCE3C7}"/>
              </a:ext>
            </a:extLst>
          </p:cNvPr>
          <p:cNvSpPr txBox="1"/>
          <p:nvPr/>
        </p:nvSpPr>
        <p:spPr>
          <a:xfrm>
            <a:off x="606287" y="1646426"/>
            <a:ext cx="11200903" cy="3970318"/>
          </a:xfrm>
          <a:prstGeom prst="rect">
            <a:avLst/>
          </a:prstGeom>
          <a:noFill/>
        </p:spPr>
        <p:txBody>
          <a:bodyPr wrap="square" lIns="91440" tIns="45720" rIns="91440" bIns="45720" numCol="2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7100"/>
                </a:solidFill>
                <a:effectLst/>
                <a:uLnTx/>
                <a:uFillTx/>
                <a:latin typeface=".SF NS"/>
                <a:ea typeface="+mn-ea"/>
                <a:cs typeface="+mn-cs"/>
              </a:rPr>
              <a:t>Integrated APIs for Straightforward Azure AI Integratio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7100"/>
              </a:solidFill>
              <a:effectLst/>
              <a:uLnTx/>
              <a:uFillTx/>
              <a:latin typeface=".SF 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E0E0E"/>
                </a:solidFill>
                <a:effectLst/>
                <a:uLnTx/>
                <a:uFillTx/>
                <a:latin typeface=".SF NS"/>
                <a:ea typeface="+mn-ea"/>
                <a:cs typeface="+mn-cs"/>
              </a:rPr>
              <a:t>Seamless connectivity between Azure AI services and DevExpress UI component libraries.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7100"/>
                </a:solidFill>
                <a:effectLst/>
                <a:uLnTx/>
                <a:uFillTx/>
                <a:latin typeface=".SF NS"/>
                <a:ea typeface="+mn-ea"/>
                <a:cs typeface="+mn-cs"/>
              </a:rPr>
              <a:t>NLP-Powered Text Editor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7100"/>
              </a:solidFill>
              <a:effectLst/>
              <a:uLnTx/>
              <a:uFillTx/>
              <a:latin typeface=".SF 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E0E0E"/>
                </a:solidFill>
                <a:effectLst/>
                <a:uLnTx/>
                <a:uFillTx/>
                <a:latin typeface=".SF NS"/>
                <a:ea typeface="+mn-ea"/>
                <a:cs typeface="+mn-cs"/>
              </a:rPr>
              <a:t>Leverage AI-driven smart text processing when using the DevExpress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E0E0E"/>
                </a:solidFill>
                <a:effectLst/>
                <a:uLnTx/>
                <a:uFillTx/>
                <a:latin typeface=".SF NS"/>
                <a:ea typeface="+mn-ea"/>
                <a:cs typeface="+mn-cs"/>
              </a:rPr>
              <a:t>MemoEdi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E0E0E"/>
                </a:solidFill>
                <a:effectLst/>
                <a:uLnTx/>
                <a:uFillTx/>
                <a:latin typeface=".SF NS"/>
                <a:ea typeface="+mn-ea"/>
                <a:cs typeface="+mn-cs"/>
              </a:rPr>
              <a:t>,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E0E0E"/>
                </a:solidFill>
                <a:effectLst/>
                <a:uLnTx/>
                <a:uFillTx/>
                <a:latin typeface=".SF NS"/>
                <a:ea typeface="+mn-ea"/>
                <a:cs typeface="+mn-cs"/>
              </a:rPr>
              <a:t>RichEdi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E0E0E"/>
                </a:solidFill>
                <a:effectLst/>
                <a:uLnTx/>
                <a:uFillTx/>
                <a:latin typeface=".SF NS"/>
                <a:ea typeface="+mn-ea"/>
                <a:cs typeface="+mn-cs"/>
              </a:rPr>
              <a:t>, and HTML Editors.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7100"/>
                </a:solidFill>
                <a:effectLst/>
                <a:uLnTx/>
                <a:uFillTx/>
                <a:latin typeface=".SF NS"/>
                <a:ea typeface="+mn-ea"/>
                <a:cs typeface="+mn-cs"/>
              </a:rPr>
              <a:t>AI-Centric Chat UI Component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7100"/>
              </a:solidFill>
              <a:effectLst/>
              <a:uLnTx/>
              <a:uFillTx/>
              <a:latin typeface=".SF 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E0E0E"/>
                </a:solidFill>
                <a:effectLst/>
                <a:uLnTx/>
                <a:uFillTx/>
                <a:latin typeface=".SF NS"/>
                <a:ea typeface="+mn-ea"/>
                <a:cs typeface="+mn-cs"/>
              </a:rPr>
              <a:t>New JavaScript and Blazor chat components designed for AI interactions in </a:t>
            </a:r>
            <a:r>
              <a:rPr lang="en-US" sz="1800" dirty="0">
                <a:solidFill>
                  <a:srgbClr val="0E0E0E"/>
                </a:solidFill>
                <a:latin typeface=".SF NS"/>
              </a:rPr>
              <a:t>Web,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E0E0E"/>
                </a:solidFill>
                <a:effectLst/>
                <a:uLnTx/>
                <a:uFillTx/>
                <a:latin typeface=".SF NS"/>
                <a:ea typeface="+mn-ea"/>
                <a:cs typeface="+mn-cs"/>
              </a:rPr>
              <a:t>WinForms, and WPF apps.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7100"/>
                </a:solidFill>
                <a:effectLst/>
                <a:uLnTx/>
                <a:uFillTx/>
                <a:latin typeface=".SF NS"/>
                <a:ea typeface="+mn-ea"/>
                <a:cs typeface="+mn-cs"/>
              </a:rPr>
              <a:t>“Chat with Your Own Data”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7100"/>
              </a:solidFill>
              <a:effectLst/>
              <a:uLnTx/>
              <a:uFillTx/>
              <a:latin typeface=".SF 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E0E0E"/>
                </a:solidFill>
                <a:effectLst/>
                <a:uLnTx/>
                <a:uFillTx/>
                <a:latin typeface=".SF NS"/>
                <a:ea typeface="+mn-ea"/>
                <a:cs typeface="+mn-cs"/>
              </a:rPr>
              <a:t>Incorporate Azure OpenAI Chat Assistants and Retrieval-Augmented Generation (RAG) for custom data interactions when using DevExpress Data Grids, Reports, and more. 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7100"/>
                </a:solidFill>
                <a:effectLst/>
                <a:uLnTx/>
                <a:uFillTx/>
                <a:latin typeface=".SF NS"/>
                <a:ea typeface="+mn-ea"/>
                <a:cs typeface="+mn-cs"/>
              </a:rPr>
              <a:t>Offline AI Model Support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7100"/>
              </a:solidFill>
              <a:effectLst/>
              <a:uLnTx/>
              <a:uFillTx/>
              <a:latin typeface=".SF 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E0E0E"/>
                </a:solidFill>
                <a:effectLst/>
                <a:uLnTx/>
                <a:uFillTx/>
                <a:latin typeface=".SF NS"/>
                <a:ea typeface="+mn-ea"/>
                <a:cs typeface="+mn-cs"/>
              </a:rPr>
              <a:t>Utilize ONNX Runtime and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E0E0E"/>
                </a:solidFill>
                <a:effectLst/>
                <a:uLnTx/>
                <a:uFillTx/>
                <a:latin typeface=".SF NS"/>
                <a:ea typeface="+mn-ea"/>
                <a:cs typeface="+mn-cs"/>
              </a:rPr>
              <a:t>Ollam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E0E0E"/>
                </a:solidFill>
                <a:effectLst/>
                <a:uLnTx/>
                <a:uFillTx/>
                <a:latin typeface=".SF NS"/>
                <a:ea typeface="+mn-ea"/>
                <a:cs typeface="+mn-cs"/>
              </a:rPr>
              <a:t> for running AI models without an internet connection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8D8CA91-1665-2E19-4BF5-E7B83B1EAE48}"/>
              </a:ext>
            </a:extLst>
          </p:cNvPr>
          <p:cNvSpPr txBox="1"/>
          <p:nvPr/>
        </p:nvSpPr>
        <p:spPr>
          <a:xfrm>
            <a:off x="606287" y="949274"/>
            <a:ext cx="2795958" cy="400110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hipping December 2024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5F7F4954-BEEB-AAEE-B691-C86AEC122EFB}"/>
              </a:ext>
            </a:extLst>
          </p:cNvPr>
          <p:cNvSpPr/>
          <p:nvPr/>
        </p:nvSpPr>
        <p:spPr>
          <a:xfrm>
            <a:off x="1061762" y="5671377"/>
            <a:ext cx="4680965" cy="689144"/>
          </a:xfrm>
          <a:prstGeom prst="roundRect">
            <a:avLst>
              <a:gd name="adj" fmla="val 50000"/>
            </a:avLst>
          </a:prstGeom>
          <a:solidFill>
            <a:srgbClr val="FF71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.SF NS"/>
              </a:rPr>
              <a:t>devexpress.com/go/AI.aspx</a:t>
            </a:r>
          </a:p>
        </p:txBody>
      </p:sp>
    </p:spTree>
    <p:extLst>
      <p:ext uri="{BB962C8B-B14F-4D97-AF65-F5344CB8AC3E}">
        <p14:creationId xmlns:p14="http://schemas.microsoft.com/office/powerpoint/2010/main" val="36938968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ext Box 1" descr="Title 1">
            <a:extLst>
              <a:ext uri="{FF2B5EF4-FFF2-40B4-BE49-F238E27FC236}">
                <a16:creationId xmlns:a16="http://schemas.microsoft.com/office/drawing/2014/main" id="{07D61B68-3BDE-40DB-9681-818C6C2DB5D6}"/>
              </a:ext>
            </a:extLst>
          </p:cNvPr>
          <p:cNvSpPr txBox="1">
            <a:spLocks/>
          </p:cNvSpPr>
          <p:nvPr/>
        </p:nvSpPr>
        <p:spPr bwMode="auto">
          <a:xfrm>
            <a:off x="1484975" y="624576"/>
            <a:ext cx="9214111" cy="5493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45720" rIns="45720" anchor="b">
            <a:spAutoFit/>
          </a:bodyPr>
          <a:lstStyle>
            <a:lvl1pPr defTabSz="858838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 defTabSz="858838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 defTabSz="858838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 defTabSz="858838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 defTabSz="858838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defTabSz="8588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defTabSz="8588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defTabSz="8588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defTabSz="8588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algn="ctr" eaLnBrk="1">
              <a:lnSpc>
                <a:spcPct val="90000"/>
              </a:lnSpc>
            </a:pPr>
            <a:r>
              <a:rPr lang="en-US" altLang="en-US" sz="3300" b="1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SYNCFUSION Essential Studio 2024 Volume 3</a:t>
            </a:r>
          </a:p>
        </p:txBody>
      </p:sp>
      <p:sp>
        <p:nvSpPr>
          <p:cNvPr id="11268" name="Rectangle 3" descr="Rectangle 11">
            <a:extLst>
              <a:ext uri="{FF2B5EF4-FFF2-40B4-BE49-F238E27FC236}">
                <a16:creationId xmlns:a16="http://schemas.microsoft.com/office/drawing/2014/main" id="{7AAA2F64-CC57-4C87-908E-05D713BE5AC1}"/>
              </a:ext>
            </a:extLst>
          </p:cNvPr>
          <p:cNvSpPr>
            <a:spLocks/>
          </p:cNvSpPr>
          <p:nvPr/>
        </p:nvSpPr>
        <p:spPr bwMode="auto">
          <a:xfrm>
            <a:off x="-3175" y="6022975"/>
            <a:ext cx="12190413" cy="835025"/>
          </a:xfrm>
          <a:prstGeom prst="rect">
            <a:avLst/>
          </a:prstGeom>
          <a:solidFill>
            <a:srgbClr val="0021CB"/>
          </a:solidFill>
          <a:ln w="12700">
            <a:solidFill>
              <a:srgbClr val="42719B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45720" rIns="45720" anchor="ctr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algn="ctr" eaLnBrk="1"/>
            <a:endParaRPr lang="en-US" altLang="en-US">
              <a:solidFill>
                <a:srgbClr val="505487"/>
              </a:solidFill>
            </a:endParaRPr>
          </a:p>
        </p:txBody>
      </p:sp>
      <p:pic>
        <p:nvPicPr>
          <p:cNvPr id="11269" name="Picture 4" descr="Picture 12">
            <a:extLst>
              <a:ext uri="{FF2B5EF4-FFF2-40B4-BE49-F238E27FC236}">
                <a16:creationId xmlns:a16="http://schemas.microsoft.com/office/drawing/2014/main" id="{8EB0F6B5-1DE8-4E52-9A37-5FAF738599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34625" y="6261100"/>
            <a:ext cx="1598613" cy="355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1270" name="Text Box 5" descr="Rectangle 15">
            <a:extLst>
              <a:ext uri="{FF2B5EF4-FFF2-40B4-BE49-F238E27FC236}">
                <a16:creationId xmlns:a16="http://schemas.microsoft.com/office/drawing/2014/main" id="{CBDF1990-B9C5-4A77-BEE2-073C3BD4617C}"/>
              </a:ext>
            </a:extLst>
          </p:cNvPr>
          <p:cNvSpPr txBox="1">
            <a:spLocks/>
          </p:cNvSpPr>
          <p:nvPr/>
        </p:nvSpPr>
        <p:spPr bwMode="auto">
          <a:xfrm>
            <a:off x="187325" y="6421438"/>
            <a:ext cx="34783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45720" rIns="45720">
            <a:spAutoFit/>
          </a:bodyPr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/>
            <a:r>
              <a:rPr lang="en-US" altLang="en-US" sz="1200" dirty="0">
                <a:solidFill>
                  <a:srgbClr val="9DC3E6"/>
                </a:solidFill>
              </a:rPr>
              <a:t>Copyright © 2024 Syncfusion, Inc.   All rights reserved.</a:t>
            </a:r>
          </a:p>
        </p:txBody>
      </p:sp>
      <p:sp>
        <p:nvSpPr>
          <p:cNvPr id="11278" name="Text Box 13">
            <a:extLst>
              <a:ext uri="{FF2B5EF4-FFF2-40B4-BE49-F238E27FC236}">
                <a16:creationId xmlns:a16="http://schemas.microsoft.com/office/drawing/2014/main" id="{BAD3E090-35FD-4BC2-8E34-6B5670C690A3}"/>
              </a:ext>
            </a:extLst>
          </p:cNvPr>
          <p:cNvSpPr txBox="1">
            <a:spLocks/>
          </p:cNvSpPr>
          <p:nvPr/>
        </p:nvSpPr>
        <p:spPr bwMode="auto">
          <a:xfrm>
            <a:off x="1195898" y="1572420"/>
            <a:ext cx="4164859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45720" rIns="45720" anchor="ctr">
            <a:spAutoFit/>
          </a:bodyPr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algn="ctr" eaLnBrk="1"/>
            <a:r>
              <a:rPr lang="en-US" altLang="en-US" sz="2600" b="1" dirty="0">
                <a:solidFill>
                  <a:srgbClr val="0021CB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New AI Assist component</a:t>
            </a:r>
          </a:p>
        </p:txBody>
      </p:sp>
      <p:sp>
        <p:nvSpPr>
          <p:cNvPr id="2" name="Text Box 10">
            <a:extLst>
              <a:ext uri="{FF2B5EF4-FFF2-40B4-BE49-F238E27FC236}">
                <a16:creationId xmlns:a16="http://schemas.microsoft.com/office/drawing/2014/main" id="{4A5388CA-B778-122C-A82E-9C8733D00E18}"/>
              </a:ext>
            </a:extLst>
          </p:cNvPr>
          <p:cNvSpPr txBox="1">
            <a:spLocks/>
          </p:cNvSpPr>
          <p:nvPr/>
        </p:nvSpPr>
        <p:spPr bwMode="auto">
          <a:xfrm>
            <a:off x="1195898" y="2356982"/>
            <a:ext cx="6513095" cy="21567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45720" rIns="45720">
            <a:spAutoFit/>
          </a:bodyPr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Latha" panose="020B0502040204020203" pitchFamily="34" charset="0"/>
              </a:rPr>
              <a:t>Built-in support for predefined toolbar items, including copy, edit, and like/unlike options for prompts and responses.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Latha" panose="020B0502040204020203" pitchFamily="34" charset="0"/>
              </a:rPr>
              <a:t>Support for prompt suggestions with customization options.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Latha" panose="020B0502040204020203" pitchFamily="34" charset="0"/>
              </a:rPr>
              <a:t>Ability to execute custom commands through toolbar options.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Latha" panose="020B0502040204020203" pitchFamily="34" charset="0"/>
              </a:rPr>
              <a:t>Templating support for prompts, responses, and more.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Latha" panose="020B0502040204020203" pitchFamily="34" charset="0"/>
              </a:rPr>
              <a:t>Extensive customization options for creating personalized views in addition to the built-in assist view.</a:t>
            </a:r>
          </a:p>
        </p:txBody>
      </p:sp>
      <p:pic>
        <p:nvPicPr>
          <p:cNvPr id="3" name="Picture 2" descr="A screenshot of a chat&#10;&#10;Description automatically generated">
            <a:extLst>
              <a:ext uri="{FF2B5EF4-FFF2-40B4-BE49-F238E27FC236}">
                <a16:creationId xmlns:a16="http://schemas.microsoft.com/office/drawing/2014/main" id="{4B0A9A58-C961-AF63-AB29-B52345264C2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9690" y="1695341"/>
            <a:ext cx="2783450" cy="380625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1EBC05F-BB62-406B-4A8B-968407ABD00E}"/>
              </a:ext>
            </a:extLst>
          </p:cNvPr>
          <p:cNvSpPr txBox="1"/>
          <p:nvPr/>
        </p:nvSpPr>
        <p:spPr>
          <a:xfrm>
            <a:off x="5077631" y="1087807"/>
            <a:ext cx="202879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kern="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Latha" panose="020B0502040204020203" pitchFamily="34" charset="0"/>
              </a:rPr>
              <a:t>September 2024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5CB0067-8A48-64C1-C658-D944A63A3E32}"/>
              </a:ext>
            </a:extLst>
          </p:cNvPr>
          <p:cNvSpPr/>
          <p:nvPr/>
        </p:nvSpPr>
        <p:spPr>
          <a:xfrm>
            <a:off x="1595756" y="4824786"/>
            <a:ext cx="5713378" cy="460794"/>
          </a:xfrm>
          <a:prstGeom prst="rect">
            <a:avLst/>
          </a:prstGeom>
          <a:solidFill>
            <a:srgbClr val="FF952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Aptos" panose="020B0004020202020204" pitchFamily="34" charset="0"/>
              </a:rPr>
              <a:t>syncfusion.com/products/roadmap/blazor-components</a:t>
            </a:r>
          </a:p>
        </p:txBody>
      </p:sp>
    </p:spTree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AC4617BB-D253-7894-69A1-E87C3C4BF60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5487" y="3445625"/>
            <a:ext cx="6840109" cy="3429000"/>
          </a:xfrm>
          <a:prstGeom prst="rect">
            <a:avLst/>
          </a:prstGeom>
        </p:spPr>
      </p:pic>
      <p:pic>
        <p:nvPicPr>
          <p:cNvPr id="20" name="Picture 19" descr="A black circle with a dark background&#10;&#10;Description automatically generated with medium confidence">
            <a:extLst>
              <a:ext uri="{FF2B5EF4-FFF2-40B4-BE49-F238E27FC236}">
                <a16:creationId xmlns:a16="http://schemas.microsoft.com/office/drawing/2014/main" id="{6A631204-F85C-DC10-7271-E2302C24E4C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43564" y="0"/>
            <a:ext cx="4448436" cy="3840658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97A6F0AC-1942-2802-9A44-3C012B931FB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 flipV="1">
            <a:off x="8787986" y="366"/>
            <a:ext cx="3420035" cy="6857268"/>
          </a:xfrm>
          <a:prstGeom prst="rect">
            <a:avLst/>
          </a:prstGeom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3997B8A8-953A-4F35-AAA3-6D4D2C25DFE7}"/>
              </a:ext>
            </a:extLst>
          </p:cNvPr>
          <p:cNvSpPr txBox="1">
            <a:spLocks/>
          </p:cNvSpPr>
          <p:nvPr/>
        </p:nvSpPr>
        <p:spPr>
          <a:xfrm>
            <a:off x="570677" y="422028"/>
            <a:ext cx="3032494" cy="615553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000" b="1" kern="1200" cap="none" spc="0" baseline="0">
                <a:ln w="3175">
                  <a:noFill/>
                </a:ln>
                <a:solidFill>
                  <a:schemeClr val="tx1"/>
                </a:solidFill>
                <a:effectLst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r>
              <a:rPr lang="en-US"/>
              <a:t>Resources</a:t>
            </a:r>
          </a:p>
        </p:txBody>
      </p:sp>
      <p:sp>
        <p:nvSpPr>
          <p:cNvPr id="23" name="Rounded Rectangle 1">
            <a:extLst>
              <a:ext uri="{FF2B5EF4-FFF2-40B4-BE49-F238E27FC236}">
                <a16:creationId xmlns:a16="http://schemas.microsoft.com/office/drawing/2014/main" id="{21EAF275-B7F8-1132-EE3E-1E79E10A16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3047588" y="1770885"/>
            <a:ext cx="4202453" cy="1033273"/>
          </a:xfrm>
          <a:prstGeom prst="roundRect">
            <a:avLst>
              <a:gd name="adj" fmla="val 10106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20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254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anose="020B0502040204020203" pitchFamily="34" charset="0"/>
            </a:endParaRP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32CB18B8-1628-D5E1-D017-17970F00DFB9}"/>
              </a:ext>
            </a:extLst>
          </p:cNvPr>
          <p:cNvSpPr txBox="1">
            <a:spLocks/>
          </p:cNvSpPr>
          <p:nvPr/>
        </p:nvSpPr>
        <p:spPr>
          <a:xfrm>
            <a:off x="3319895" y="2059888"/>
            <a:ext cx="3657839" cy="153888"/>
          </a:xfrm>
          <a:prstGeom prst="rect">
            <a:avLst/>
          </a:prstGeom>
        </p:spPr>
        <p:txBody>
          <a:bodyPr anchor="ctr"/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000" b="1" kern="1200" spc="0" baseline="0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hlinkClick r:id="rId5"/>
              </a:rPr>
              <a:t>aka.ms/dotnet/smart-components</a:t>
            </a:r>
            <a:endParaRPr lang="en-US" dirty="0"/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F38C0EF5-DBC5-2DF8-4AB1-1D5FB01E396C}"/>
              </a:ext>
            </a:extLst>
          </p:cNvPr>
          <p:cNvSpPr txBox="1">
            <a:spLocks/>
          </p:cNvSpPr>
          <p:nvPr/>
        </p:nvSpPr>
        <p:spPr>
          <a:xfrm>
            <a:off x="3319895" y="2372347"/>
            <a:ext cx="3657839" cy="153888"/>
          </a:xfrm>
          <a:prstGeom prst="rect">
            <a:avLst/>
          </a:prstGeom>
        </p:spPr>
        <p:txBody>
          <a:bodyPr anchor="ctr"/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0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.NET Smart Components</a:t>
            </a:r>
          </a:p>
        </p:txBody>
      </p:sp>
      <p:sp>
        <p:nvSpPr>
          <p:cNvPr id="26" name="Rounded Rectangle 11">
            <a:extLst>
              <a:ext uri="{FF2B5EF4-FFF2-40B4-BE49-F238E27FC236}">
                <a16:creationId xmlns:a16="http://schemas.microsoft.com/office/drawing/2014/main" id="{41BA3BDB-4241-E211-E3BB-11796A6546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3047588" y="2944913"/>
            <a:ext cx="4202453" cy="1033273"/>
          </a:xfrm>
          <a:prstGeom prst="roundRect">
            <a:avLst>
              <a:gd name="adj" fmla="val 10106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20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254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6B9734A4-CF2E-5B2A-11A5-7237ADB7E875}"/>
              </a:ext>
            </a:extLst>
          </p:cNvPr>
          <p:cNvSpPr txBox="1">
            <a:spLocks/>
          </p:cNvSpPr>
          <p:nvPr/>
        </p:nvSpPr>
        <p:spPr>
          <a:xfrm>
            <a:off x="3319895" y="3233916"/>
            <a:ext cx="3657839" cy="153888"/>
          </a:xfrm>
          <a:prstGeom prst="rect">
            <a:avLst/>
          </a:prstGeom>
        </p:spPr>
        <p:txBody>
          <a:bodyPr anchor="ctr"/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000" b="1" kern="1200" spc="0" baseline="0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hlinkClick r:id="rId6"/>
              </a:rPr>
              <a:t>github.com/dotnet/ai-samples</a:t>
            </a:r>
            <a:endParaRPr lang="en-US" dirty="0"/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C8F0E37A-6641-8C8B-8AA0-7A4653EA56A3}"/>
              </a:ext>
            </a:extLst>
          </p:cNvPr>
          <p:cNvSpPr txBox="1">
            <a:spLocks/>
          </p:cNvSpPr>
          <p:nvPr/>
        </p:nvSpPr>
        <p:spPr>
          <a:xfrm>
            <a:off x="3319895" y="3546375"/>
            <a:ext cx="3657839" cy="153888"/>
          </a:xfrm>
          <a:prstGeom prst="rect">
            <a:avLst/>
          </a:prstGeom>
        </p:spPr>
        <p:txBody>
          <a:bodyPr anchor="ctr"/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0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.NET AI samples</a:t>
            </a:r>
          </a:p>
        </p:txBody>
      </p:sp>
      <p:sp>
        <p:nvSpPr>
          <p:cNvPr id="29" name="Rounded Rectangle 14">
            <a:extLst>
              <a:ext uri="{FF2B5EF4-FFF2-40B4-BE49-F238E27FC236}">
                <a16:creationId xmlns:a16="http://schemas.microsoft.com/office/drawing/2014/main" id="{F124D5A3-A1D6-C2E0-C6E6-15110FB8E6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3047588" y="4118941"/>
            <a:ext cx="4202453" cy="1033273"/>
          </a:xfrm>
          <a:prstGeom prst="roundRect">
            <a:avLst>
              <a:gd name="adj" fmla="val 10106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20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254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B7F382D6-396E-2691-B743-D8094008219D}"/>
              </a:ext>
            </a:extLst>
          </p:cNvPr>
          <p:cNvSpPr txBox="1">
            <a:spLocks/>
          </p:cNvSpPr>
          <p:nvPr/>
        </p:nvSpPr>
        <p:spPr>
          <a:xfrm>
            <a:off x="3319895" y="4407944"/>
            <a:ext cx="3657839" cy="153888"/>
          </a:xfrm>
          <a:prstGeom prst="rect">
            <a:avLst/>
          </a:prstGeom>
        </p:spPr>
        <p:txBody>
          <a:bodyPr anchor="ctr"/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000" b="1" kern="1200" spc="0" baseline="0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hlinkClick r:id="rId7"/>
              </a:rPr>
              <a:t>github.com/dotnet/</a:t>
            </a:r>
            <a:r>
              <a:rPr lang="en-US" dirty="0" err="1">
                <a:hlinkClick r:id="rId7"/>
              </a:rPr>
              <a:t>eShopSupport</a:t>
            </a:r>
            <a:endParaRPr lang="en-US" dirty="0"/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2A79268E-1984-0C60-AA8F-BDB9C60BB270}"/>
              </a:ext>
            </a:extLst>
          </p:cNvPr>
          <p:cNvSpPr txBox="1">
            <a:spLocks/>
          </p:cNvSpPr>
          <p:nvPr/>
        </p:nvSpPr>
        <p:spPr>
          <a:xfrm>
            <a:off x="3319895" y="4720403"/>
            <a:ext cx="3657839" cy="153888"/>
          </a:xfrm>
          <a:prstGeom prst="rect">
            <a:avLst/>
          </a:prstGeom>
        </p:spPr>
        <p:txBody>
          <a:bodyPr anchor="ctr"/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0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/>
              <a:t>eShop</a:t>
            </a:r>
            <a:r>
              <a:rPr lang="en-US" dirty="0"/>
              <a:t> Support sample</a:t>
            </a:r>
          </a:p>
        </p:txBody>
      </p:sp>
      <p:sp>
        <p:nvSpPr>
          <p:cNvPr id="32" name="Rounded Rectangle 19">
            <a:extLst>
              <a:ext uri="{FF2B5EF4-FFF2-40B4-BE49-F238E27FC236}">
                <a16:creationId xmlns:a16="http://schemas.microsoft.com/office/drawing/2014/main" id="{13CBC385-BF11-38FA-DCC6-691B88AA12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3047588" y="5296577"/>
            <a:ext cx="4202453" cy="1033273"/>
          </a:xfrm>
          <a:prstGeom prst="roundRect">
            <a:avLst>
              <a:gd name="adj" fmla="val 10106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20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254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C26AA673-2369-A3BC-1A7E-0DA2CFFD14EB}"/>
              </a:ext>
            </a:extLst>
          </p:cNvPr>
          <p:cNvSpPr txBox="1">
            <a:spLocks/>
          </p:cNvSpPr>
          <p:nvPr/>
        </p:nvSpPr>
        <p:spPr>
          <a:xfrm>
            <a:off x="3319895" y="5585580"/>
            <a:ext cx="3657839" cy="153888"/>
          </a:xfrm>
          <a:prstGeom prst="rect">
            <a:avLst/>
          </a:prstGeom>
        </p:spPr>
        <p:txBody>
          <a:bodyPr anchor="ctr"/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000" b="1" kern="1200" spc="0" baseline="0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hlinkClick r:id="rId8"/>
              </a:rPr>
              <a:t>github.com/danroth27/</a:t>
            </a:r>
            <a:r>
              <a:rPr lang="en-US" dirty="0" err="1">
                <a:hlinkClick r:id="rId8"/>
              </a:rPr>
              <a:t>BlazorChatApp</a:t>
            </a:r>
            <a:endParaRPr lang="en-US" dirty="0"/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913B87F2-96EA-4653-FE83-25FE1A4D1609}"/>
              </a:ext>
            </a:extLst>
          </p:cNvPr>
          <p:cNvSpPr txBox="1">
            <a:spLocks/>
          </p:cNvSpPr>
          <p:nvPr/>
        </p:nvSpPr>
        <p:spPr>
          <a:xfrm>
            <a:off x="3319895" y="5898039"/>
            <a:ext cx="3657839" cy="153888"/>
          </a:xfrm>
          <a:prstGeom prst="rect">
            <a:avLst/>
          </a:prstGeom>
        </p:spPr>
        <p:txBody>
          <a:bodyPr anchor="ctr"/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0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Blazor chat app sample</a:t>
            </a:r>
          </a:p>
        </p:txBody>
      </p:sp>
      <p:sp>
        <p:nvSpPr>
          <p:cNvPr id="35" name="Rounded Rectangle 22">
            <a:extLst>
              <a:ext uri="{FF2B5EF4-FFF2-40B4-BE49-F238E27FC236}">
                <a16:creationId xmlns:a16="http://schemas.microsoft.com/office/drawing/2014/main" id="{7DB4CD66-34BF-E040-E9E6-48A5C42C3B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7397751" y="1770885"/>
            <a:ext cx="4202453" cy="1033273"/>
          </a:xfrm>
          <a:prstGeom prst="roundRect">
            <a:avLst>
              <a:gd name="adj" fmla="val 10106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20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254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E44ABECF-DD3E-B841-4418-13AF8AAB5F32}"/>
              </a:ext>
            </a:extLst>
          </p:cNvPr>
          <p:cNvSpPr txBox="1">
            <a:spLocks/>
          </p:cNvSpPr>
          <p:nvPr/>
        </p:nvSpPr>
        <p:spPr>
          <a:xfrm>
            <a:off x="7670058" y="2059888"/>
            <a:ext cx="3657839" cy="153888"/>
          </a:xfrm>
          <a:prstGeom prst="rect">
            <a:avLst/>
          </a:prstGeom>
        </p:spPr>
        <p:txBody>
          <a:bodyPr anchor="ctr"/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000" b="1" kern="1200" spc="0" baseline="0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hlinkClick r:id="rId9"/>
              </a:rPr>
              <a:t>telerik.com/</a:t>
            </a:r>
            <a:r>
              <a:rPr lang="en-US" dirty="0" err="1">
                <a:hlinkClick r:id="rId9"/>
              </a:rPr>
              <a:t>blazor-ui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5D5DAD16-EA7A-C923-E869-BC720BFB6328}"/>
              </a:ext>
            </a:extLst>
          </p:cNvPr>
          <p:cNvSpPr txBox="1">
            <a:spLocks/>
          </p:cNvSpPr>
          <p:nvPr/>
        </p:nvSpPr>
        <p:spPr>
          <a:xfrm>
            <a:off x="7670058" y="2372347"/>
            <a:ext cx="3657839" cy="153888"/>
          </a:xfrm>
          <a:prstGeom prst="rect">
            <a:avLst/>
          </a:prstGeom>
        </p:spPr>
        <p:txBody>
          <a:bodyPr anchor="ctr"/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0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Progress Telerik Blazor components</a:t>
            </a:r>
          </a:p>
        </p:txBody>
      </p:sp>
      <p:sp>
        <p:nvSpPr>
          <p:cNvPr id="38" name="Rounded Rectangle 25">
            <a:extLst>
              <a:ext uri="{FF2B5EF4-FFF2-40B4-BE49-F238E27FC236}">
                <a16:creationId xmlns:a16="http://schemas.microsoft.com/office/drawing/2014/main" id="{1913EC21-744C-62E5-D911-20CDC4FCE3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7397751" y="2944913"/>
            <a:ext cx="4202453" cy="1033273"/>
          </a:xfrm>
          <a:prstGeom prst="roundRect">
            <a:avLst>
              <a:gd name="adj" fmla="val 10106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20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254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31CA6A5E-5401-8549-CAE5-3C6C2E0700E3}"/>
              </a:ext>
            </a:extLst>
          </p:cNvPr>
          <p:cNvSpPr txBox="1">
            <a:spLocks/>
          </p:cNvSpPr>
          <p:nvPr/>
        </p:nvSpPr>
        <p:spPr>
          <a:xfrm>
            <a:off x="7670058" y="3233916"/>
            <a:ext cx="3657839" cy="153888"/>
          </a:xfrm>
          <a:prstGeom prst="rect">
            <a:avLst/>
          </a:prstGeom>
        </p:spPr>
        <p:txBody>
          <a:bodyPr anchor="ctr"/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000" b="1" kern="1200" spc="0" baseline="0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hlinkClick r:id="rId10"/>
              </a:rPr>
              <a:t>devexpress.com/</a:t>
            </a:r>
            <a:r>
              <a:rPr lang="en-US" dirty="0" err="1">
                <a:hlinkClick r:id="rId10"/>
              </a:rPr>
              <a:t>blazor</a:t>
            </a:r>
            <a:endParaRPr lang="en-US" dirty="0"/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A5ACBA8D-9BBD-B861-2CE3-DCF264EAE508}"/>
              </a:ext>
            </a:extLst>
          </p:cNvPr>
          <p:cNvSpPr txBox="1">
            <a:spLocks/>
          </p:cNvSpPr>
          <p:nvPr/>
        </p:nvSpPr>
        <p:spPr>
          <a:xfrm>
            <a:off x="7670058" y="3546375"/>
            <a:ext cx="3657839" cy="153888"/>
          </a:xfrm>
          <a:prstGeom prst="rect">
            <a:avLst/>
          </a:prstGeom>
        </p:spPr>
        <p:txBody>
          <a:bodyPr anchor="ctr"/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0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evExpress Blazor components</a:t>
            </a:r>
          </a:p>
        </p:txBody>
      </p:sp>
      <p:sp>
        <p:nvSpPr>
          <p:cNvPr id="41" name="Rounded Rectangle 28">
            <a:extLst>
              <a:ext uri="{FF2B5EF4-FFF2-40B4-BE49-F238E27FC236}">
                <a16:creationId xmlns:a16="http://schemas.microsoft.com/office/drawing/2014/main" id="{A9C7E064-DA85-D7E3-F67D-A89FFE6ABB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7397751" y="4118941"/>
            <a:ext cx="4202453" cy="1033273"/>
          </a:xfrm>
          <a:prstGeom prst="roundRect">
            <a:avLst>
              <a:gd name="adj" fmla="val 10106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20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254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4BB78CEB-16A9-B644-CCD0-D296DE288A92}"/>
              </a:ext>
            </a:extLst>
          </p:cNvPr>
          <p:cNvSpPr txBox="1">
            <a:spLocks/>
          </p:cNvSpPr>
          <p:nvPr/>
        </p:nvSpPr>
        <p:spPr>
          <a:xfrm>
            <a:off x="7670058" y="4407944"/>
            <a:ext cx="3657839" cy="153888"/>
          </a:xfrm>
          <a:prstGeom prst="rect">
            <a:avLst/>
          </a:prstGeom>
        </p:spPr>
        <p:txBody>
          <a:bodyPr anchor="ctr"/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000" b="1" kern="1200" spc="0" baseline="0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hlinkClick r:id="rId11"/>
              </a:rPr>
              <a:t>syncfusion.com/</a:t>
            </a:r>
            <a:r>
              <a:rPr lang="en-US" dirty="0" err="1">
                <a:hlinkClick r:id="rId11"/>
              </a:rPr>
              <a:t>blazor</a:t>
            </a:r>
            <a:endParaRPr lang="en-US" dirty="0"/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9982F11C-BD37-5A3A-E65D-8B7E2B948D1B}"/>
              </a:ext>
            </a:extLst>
          </p:cNvPr>
          <p:cNvSpPr txBox="1">
            <a:spLocks/>
          </p:cNvSpPr>
          <p:nvPr/>
        </p:nvSpPr>
        <p:spPr>
          <a:xfrm>
            <a:off x="7670058" y="4720403"/>
            <a:ext cx="3657839" cy="153888"/>
          </a:xfrm>
          <a:prstGeom prst="rect">
            <a:avLst/>
          </a:prstGeom>
        </p:spPr>
        <p:txBody>
          <a:bodyPr anchor="ctr"/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0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/>
              <a:t>Syncfusion</a:t>
            </a:r>
            <a:r>
              <a:rPr lang="en-US" dirty="0"/>
              <a:t> Blazor components</a:t>
            </a:r>
          </a:p>
        </p:txBody>
      </p:sp>
      <p:sp>
        <p:nvSpPr>
          <p:cNvPr id="44" name="Rounded Rectangle 31">
            <a:extLst>
              <a:ext uri="{FF2B5EF4-FFF2-40B4-BE49-F238E27FC236}">
                <a16:creationId xmlns:a16="http://schemas.microsoft.com/office/drawing/2014/main" id="{2023B085-5250-786B-B2C8-93A2BF6D63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7397751" y="5296577"/>
            <a:ext cx="4202453" cy="1033273"/>
          </a:xfrm>
          <a:prstGeom prst="roundRect">
            <a:avLst>
              <a:gd name="adj" fmla="val 10106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20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254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89DDFC77-2375-EC9C-EBA7-0C2B5507930F}"/>
              </a:ext>
            </a:extLst>
          </p:cNvPr>
          <p:cNvSpPr txBox="1">
            <a:spLocks/>
          </p:cNvSpPr>
          <p:nvPr/>
        </p:nvSpPr>
        <p:spPr>
          <a:xfrm>
            <a:off x="7670058" y="5585580"/>
            <a:ext cx="3657839" cy="153888"/>
          </a:xfrm>
          <a:prstGeom prst="rect">
            <a:avLst/>
          </a:prstGeom>
        </p:spPr>
        <p:txBody>
          <a:bodyPr anchor="ctr"/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000" b="1" kern="1200" spc="0" baseline="0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hlinkClick r:id="rId12"/>
              </a:rPr>
              <a:t>blazor.net</a:t>
            </a:r>
            <a:endParaRPr lang="en-US" dirty="0"/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E8F9251C-56DA-48FA-87E5-69DA62D772B4}"/>
              </a:ext>
            </a:extLst>
          </p:cNvPr>
          <p:cNvSpPr txBox="1">
            <a:spLocks/>
          </p:cNvSpPr>
          <p:nvPr/>
        </p:nvSpPr>
        <p:spPr>
          <a:xfrm>
            <a:off x="7670058" y="5898039"/>
            <a:ext cx="3657839" cy="153888"/>
          </a:xfrm>
          <a:prstGeom prst="rect">
            <a:avLst/>
          </a:prstGeom>
        </p:spPr>
        <p:txBody>
          <a:bodyPr anchor="ctr"/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0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Blazor home page</a:t>
            </a:r>
          </a:p>
        </p:txBody>
      </p:sp>
    </p:spTree>
    <p:extLst>
      <p:ext uri="{BB962C8B-B14F-4D97-AF65-F5344CB8AC3E}">
        <p14:creationId xmlns:p14="http://schemas.microsoft.com/office/powerpoint/2010/main" val="3678233000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1764E9-8617-2A9F-7DBC-BA5AFEBAE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171" y="1784173"/>
            <a:ext cx="6367270" cy="1923604"/>
          </a:xfrm>
        </p:spPr>
        <p:txBody>
          <a:bodyPr/>
          <a:lstStyle/>
          <a:p>
            <a:r>
              <a:rPr lang="en-US">
                <a:gradFill flip="none">
                  <a:gsLst>
                    <a:gs pos="58000">
                      <a:srgbClr val="4F2BD3"/>
                    </a:gs>
                    <a:gs pos="100000">
                      <a:srgbClr val="D600AA"/>
                    </a:gs>
                  </a:gsLst>
                  <a:lin ang="3600000" scaled="0"/>
                  <a:tileRect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NET Conf:</a:t>
            </a:r>
            <a:br>
              <a:rPr lang="en-US">
                <a:gradFill flip="none">
                  <a:gsLst>
                    <a:gs pos="58000">
                      <a:srgbClr val="4F2BD3"/>
                    </a:gs>
                    <a:gs pos="100000">
                      <a:srgbClr val="D600AA"/>
                    </a:gs>
                  </a:gsLst>
                  <a:lin ang="3600000" scaled="0"/>
                  <a:tileRect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>
                <a:gradFill flip="none">
                  <a:gsLst>
                    <a:gs pos="58000">
                      <a:srgbClr val="4F2BD3"/>
                    </a:gs>
                    <a:gs pos="100000">
                      <a:srgbClr val="D600AA"/>
                    </a:gs>
                  </a:gsLst>
                  <a:lin ang="3600000" scaled="0"/>
                  <a:tileRect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ocus on AI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5F81B2-4CC3-877C-505A-61751A18A52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2171" y="4091364"/>
            <a:ext cx="5430837" cy="276999"/>
          </a:xfrm>
        </p:spPr>
        <p:txBody>
          <a:bodyPr/>
          <a:lstStyle/>
          <a:p>
            <a:r>
              <a:rPr lang="en-US" sz="4000">
                <a:solidFill>
                  <a:schemeClr val="accent2"/>
                </a:solidFill>
              </a:rPr>
              <a:t>Learn mor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81E6222-C4A7-C738-EB70-34311359489A}"/>
              </a:ext>
            </a:extLst>
          </p:cNvPr>
          <p:cNvSpPr txBox="1">
            <a:spLocks/>
          </p:cNvSpPr>
          <p:nvPr/>
        </p:nvSpPr>
        <p:spPr>
          <a:xfrm>
            <a:off x="582171" y="4842260"/>
            <a:ext cx="5923732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800" b="1" kern="1200" spc="0" baseline="0">
                <a:solidFill>
                  <a:schemeClr val="tx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aka.ms/</a:t>
            </a:r>
            <a:r>
              <a:rPr lang="en-US" dirty="0" err="1"/>
              <a:t>dotnetFocusAI</a:t>
            </a:r>
            <a:r>
              <a:rPr lang="en-US" dirty="0"/>
              <a:t>/Collecti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5ECE9AA-B94C-A00B-C686-7E85F5D8E4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75283" y="2167760"/>
            <a:ext cx="2522481" cy="2522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9108827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Graphic 4" descr="Accessibility&#10;Keyword: fluent-icon;&#10;Metaphor: person, inclusive;&#10;&#10;Used for accessibility checker and topics.">
            <a:extLst>
              <a:ext uri="{FF2B5EF4-FFF2-40B4-BE49-F238E27FC236}">
                <a16:creationId xmlns:a16="http://schemas.microsoft.com/office/drawing/2014/main" id="{5F8D2624-AE97-0389-471F-46FE586D94BB}"/>
              </a:ext>
            </a:extLst>
          </p:cNvPr>
          <p:cNvSpPr/>
          <p:nvPr/>
        </p:nvSpPr>
        <p:spPr>
          <a:xfrm>
            <a:off x="719802" y="648673"/>
            <a:ext cx="492499" cy="547272"/>
          </a:xfrm>
          <a:custGeom>
            <a:avLst/>
            <a:gdLst>
              <a:gd name="connsiteX0" fmla="*/ 191519 w 492499"/>
              <a:gd name="connsiteY0" fmla="*/ 88924 h 547272"/>
              <a:gd name="connsiteX1" fmla="*/ 221972 w 492499"/>
              <a:gd name="connsiteY1" fmla="*/ 137981 h 547272"/>
              <a:gd name="connsiteX2" fmla="*/ 228700 w 492499"/>
              <a:gd name="connsiteY2" fmla="*/ 140430 h 547272"/>
              <a:gd name="connsiteX3" fmla="*/ 263799 w 492499"/>
              <a:gd name="connsiteY3" fmla="*/ 140430 h 547272"/>
              <a:gd name="connsiteX4" fmla="*/ 270526 w 492499"/>
              <a:gd name="connsiteY4" fmla="*/ 137982 h 547272"/>
              <a:gd name="connsiteX5" fmla="*/ 300980 w 492499"/>
              <a:gd name="connsiteY5" fmla="*/ 88924 h 547272"/>
              <a:gd name="connsiteX6" fmla="*/ 246250 w 492499"/>
              <a:gd name="connsiteY6" fmla="*/ 34201 h 547272"/>
              <a:gd name="connsiteX7" fmla="*/ 191519 w 492499"/>
              <a:gd name="connsiteY7" fmla="*/ 88924 h 547272"/>
              <a:gd name="connsiteX8" fmla="*/ 161503 w 492499"/>
              <a:gd name="connsiteY8" fmla="*/ 115976 h 547272"/>
              <a:gd name="connsiteX9" fmla="*/ 157313 w 492499"/>
              <a:gd name="connsiteY9" fmla="*/ 88924 h 547272"/>
              <a:gd name="connsiteX10" fmla="*/ 246250 w 492499"/>
              <a:gd name="connsiteY10" fmla="*/ 0 h 547272"/>
              <a:gd name="connsiteX11" fmla="*/ 335187 w 492499"/>
              <a:gd name="connsiteY11" fmla="*/ 88924 h 547272"/>
              <a:gd name="connsiteX12" fmla="*/ 330997 w 492499"/>
              <a:gd name="connsiteY12" fmla="*/ 115976 h 547272"/>
              <a:gd name="connsiteX13" fmla="*/ 414444 w 492499"/>
              <a:gd name="connsiteY13" fmla="*/ 85607 h 547272"/>
              <a:gd name="connsiteX14" fmla="*/ 488977 w 492499"/>
              <a:gd name="connsiteY14" fmla="*/ 120357 h 547272"/>
              <a:gd name="connsiteX15" fmla="*/ 454222 w 492499"/>
              <a:gd name="connsiteY15" fmla="*/ 194880 h 547272"/>
              <a:gd name="connsiteX16" fmla="*/ 342028 w 492499"/>
              <a:gd name="connsiteY16" fmla="*/ 235709 h 547272"/>
              <a:gd name="connsiteX17" fmla="*/ 342019 w 492499"/>
              <a:gd name="connsiteY17" fmla="*/ 301327 h 547272"/>
              <a:gd name="connsiteX18" fmla="*/ 344758 w 492499"/>
              <a:gd name="connsiteY18" fmla="*/ 315419 h 547272"/>
              <a:gd name="connsiteX19" fmla="*/ 406146 w 492499"/>
              <a:gd name="connsiteY19" fmla="*/ 467335 h 547272"/>
              <a:gd name="connsiteX20" fmla="*/ 374013 w 492499"/>
              <a:gd name="connsiteY20" fmla="*/ 543024 h 547272"/>
              <a:gd name="connsiteX21" fmla="*/ 298313 w 492499"/>
              <a:gd name="connsiteY21" fmla="*/ 510895 h 547272"/>
              <a:gd name="connsiteX22" fmla="*/ 246227 w 492499"/>
              <a:gd name="connsiteY22" fmla="*/ 381998 h 547272"/>
              <a:gd name="connsiteX23" fmla="*/ 194142 w 492499"/>
              <a:gd name="connsiteY23" fmla="*/ 510894 h 547272"/>
              <a:gd name="connsiteX24" fmla="*/ 118442 w 492499"/>
              <a:gd name="connsiteY24" fmla="*/ 543023 h 547272"/>
              <a:gd name="connsiteX25" fmla="*/ 86309 w 492499"/>
              <a:gd name="connsiteY25" fmla="*/ 467334 h 547272"/>
              <a:gd name="connsiteX26" fmla="*/ 147739 w 492499"/>
              <a:gd name="connsiteY26" fmla="*/ 315311 h 547272"/>
              <a:gd name="connsiteX27" fmla="*/ 150478 w 492499"/>
              <a:gd name="connsiteY27" fmla="*/ 301217 h 547272"/>
              <a:gd name="connsiteX28" fmla="*/ 150472 w 492499"/>
              <a:gd name="connsiteY28" fmla="*/ 235709 h 547272"/>
              <a:gd name="connsiteX29" fmla="*/ 38278 w 492499"/>
              <a:gd name="connsiteY29" fmla="*/ 194880 h 547272"/>
              <a:gd name="connsiteX30" fmla="*/ 3523 w 492499"/>
              <a:gd name="connsiteY30" fmla="*/ 120357 h 547272"/>
              <a:gd name="connsiteX31" fmla="*/ 78056 w 492499"/>
              <a:gd name="connsiteY31" fmla="*/ 85607 h 547272"/>
              <a:gd name="connsiteX32" fmla="*/ 161503 w 492499"/>
              <a:gd name="connsiteY32" fmla="*/ 115976 h 547272"/>
              <a:gd name="connsiteX33" fmla="*/ 208615 w 492499"/>
              <a:gd name="connsiteY33" fmla="*/ 169516 h 547272"/>
              <a:gd name="connsiteX34" fmla="*/ 66356 w 492499"/>
              <a:gd name="connsiteY34" fmla="*/ 117746 h 547272"/>
              <a:gd name="connsiteX35" fmla="*/ 35666 w 492499"/>
              <a:gd name="connsiteY35" fmla="*/ 132056 h 547272"/>
              <a:gd name="connsiteX36" fmla="*/ 49977 w 492499"/>
              <a:gd name="connsiteY36" fmla="*/ 162741 h 547272"/>
              <a:gd name="connsiteX37" fmla="*/ 164422 w 492499"/>
              <a:gd name="connsiteY37" fmla="*/ 204389 h 547272"/>
              <a:gd name="connsiteX38" fmla="*/ 184679 w 492499"/>
              <a:gd name="connsiteY38" fmla="*/ 233314 h 547272"/>
              <a:gd name="connsiteX39" fmla="*/ 184685 w 492499"/>
              <a:gd name="connsiteY39" fmla="*/ 301216 h 547272"/>
              <a:gd name="connsiteX40" fmla="*/ 179455 w 492499"/>
              <a:gd name="connsiteY40" fmla="*/ 328123 h 547272"/>
              <a:gd name="connsiteX41" fmla="*/ 118025 w 492499"/>
              <a:gd name="connsiteY41" fmla="*/ 480145 h 547272"/>
              <a:gd name="connsiteX42" fmla="*/ 131255 w 492499"/>
              <a:gd name="connsiteY42" fmla="*/ 511311 h 547272"/>
              <a:gd name="connsiteX43" fmla="*/ 162426 w 492499"/>
              <a:gd name="connsiteY43" fmla="*/ 498082 h 547272"/>
              <a:gd name="connsiteX44" fmla="*/ 217684 w 492499"/>
              <a:gd name="connsiteY44" fmla="*/ 361338 h 547272"/>
              <a:gd name="connsiteX45" fmla="*/ 274771 w 492499"/>
              <a:gd name="connsiteY45" fmla="*/ 361338 h 547272"/>
              <a:gd name="connsiteX46" fmla="*/ 330028 w 492499"/>
              <a:gd name="connsiteY46" fmla="*/ 498083 h 547272"/>
              <a:gd name="connsiteX47" fmla="*/ 361200 w 492499"/>
              <a:gd name="connsiteY47" fmla="*/ 511312 h 547272"/>
              <a:gd name="connsiteX48" fmla="*/ 374430 w 492499"/>
              <a:gd name="connsiteY48" fmla="*/ 480147 h 547272"/>
              <a:gd name="connsiteX49" fmla="*/ 313043 w 492499"/>
              <a:gd name="connsiteY49" fmla="*/ 328231 h 547272"/>
              <a:gd name="connsiteX50" fmla="*/ 307812 w 492499"/>
              <a:gd name="connsiteY50" fmla="*/ 301324 h 547272"/>
              <a:gd name="connsiteX51" fmla="*/ 307822 w 492499"/>
              <a:gd name="connsiteY51" fmla="*/ 233312 h 547272"/>
              <a:gd name="connsiteX52" fmla="*/ 328079 w 492499"/>
              <a:gd name="connsiteY52" fmla="*/ 204389 h 547272"/>
              <a:gd name="connsiteX53" fmla="*/ 442522 w 492499"/>
              <a:gd name="connsiteY53" fmla="*/ 162741 h 547272"/>
              <a:gd name="connsiteX54" fmla="*/ 456833 w 492499"/>
              <a:gd name="connsiteY54" fmla="*/ 132056 h 547272"/>
              <a:gd name="connsiteX55" fmla="*/ 426144 w 492499"/>
              <a:gd name="connsiteY55" fmla="*/ 117746 h 547272"/>
              <a:gd name="connsiteX56" fmla="*/ 283884 w 492499"/>
              <a:gd name="connsiteY56" fmla="*/ 169517 h 547272"/>
              <a:gd name="connsiteX57" fmla="*/ 246250 w 492499"/>
              <a:gd name="connsiteY57" fmla="*/ 177847 h 547272"/>
              <a:gd name="connsiteX58" fmla="*/ 208615 w 492499"/>
              <a:gd name="connsiteY58" fmla="*/ 169516 h 547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492499" h="547272">
                <a:moveTo>
                  <a:pt x="191519" y="88924"/>
                </a:moveTo>
                <a:cubicBezTo>
                  <a:pt x="191519" y="110428"/>
                  <a:pt x="203926" y="129036"/>
                  <a:pt x="221972" y="137981"/>
                </a:cubicBezTo>
                <a:lnTo>
                  <a:pt x="228700" y="140430"/>
                </a:lnTo>
                <a:cubicBezTo>
                  <a:pt x="240036" y="144556"/>
                  <a:pt x="252464" y="144556"/>
                  <a:pt x="263799" y="140430"/>
                </a:cubicBezTo>
                <a:lnTo>
                  <a:pt x="270526" y="137982"/>
                </a:lnTo>
                <a:cubicBezTo>
                  <a:pt x="288573" y="129036"/>
                  <a:pt x="300980" y="110429"/>
                  <a:pt x="300980" y="88924"/>
                </a:cubicBezTo>
                <a:cubicBezTo>
                  <a:pt x="300980" y="58701"/>
                  <a:pt x="276477" y="34201"/>
                  <a:pt x="246250" y="34201"/>
                </a:cubicBezTo>
                <a:cubicBezTo>
                  <a:pt x="216023" y="34201"/>
                  <a:pt x="191519" y="58701"/>
                  <a:pt x="191519" y="88924"/>
                </a:cubicBezTo>
                <a:close/>
                <a:moveTo>
                  <a:pt x="161503" y="115976"/>
                </a:moveTo>
                <a:cubicBezTo>
                  <a:pt x="158782" y="107446"/>
                  <a:pt x="157313" y="98356"/>
                  <a:pt x="157313" y="88924"/>
                </a:cubicBezTo>
                <a:cubicBezTo>
                  <a:pt x="157313" y="39812"/>
                  <a:pt x="197131" y="0"/>
                  <a:pt x="246250" y="0"/>
                </a:cubicBezTo>
                <a:cubicBezTo>
                  <a:pt x="295369" y="0"/>
                  <a:pt x="335187" y="39812"/>
                  <a:pt x="335187" y="88924"/>
                </a:cubicBezTo>
                <a:cubicBezTo>
                  <a:pt x="335187" y="98356"/>
                  <a:pt x="333718" y="107446"/>
                  <a:pt x="330997" y="115976"/>
                </a:cubicBezTo>
                <a:lnTo>
                  <a:pt x="414444" y="85607"/>
                </a:lnTo>
                <a:cubicBezTo>
                  <a:pt x="444624" y="74625"/>
                  <a:pt x="477993" y="90184"/>
                  <a:pt x="488977" y="120357"/>
                </a:cubicBezTo>
                <a:cubicBezTo>
                  <a:pt x="499961" y="150533"/>
                  <a:pt x="484401" y="183897"/>
                  <a:pt x="454222" y="194880"/>
                </a:cubicBezTo>
                <a:lnTo>
                  <a:pt x="342028" y="235709"/>
                </a:lnTo>
                <a:lnTo>
                  <a:pt x="342019" y="301327"/>
                </a:lnTo>
                <a:cubicBezTo>
                  <a:pt x="342019" y="306156"/>
                  <a:pt x="342950" y="310940"/>
                  <a:pt x="344758" y="315419"/>
                </a:cubicBezTo>
                <a:lnTo>
                  <a:pt x="406146" y="467335"/>
                </a:lnTo>
                <a:cubicBezTo>
                  <a:pt x="418176" y="497108"/>
                  <a:pt x="403790" y="530995"/>
                  <a:pt x="374013" y="543024"/>
                </a:cubicBezTo>
                <a:cubicBezTo>
                  <a:pt x="344236" y="555052"/>
                  <a:pt x="310343" y="540668"/>
                  <a:pt x="298313" y="510895"/>
                </a:cubicBezTo>
                <a:lnTo>
                  <a:pt x="246227" y="381998"/>
                </a:lnTo>
                <a:lnTo>
                  <a:pt x="194142" y="510894"/>
                </a:lnTo>
                <a:cubicBezTo>
                  <a:pt x="182111" y="540667"/>
                  <a:pt x="148219" y="555052"/>
                  <a:pt x="118442" y="543023"/>
                </a:cubicBezTo>
                <a:cubicBezTo>
                  <a:pt x="88664" y="530993"/>
                  <a:pt x="74277" y="497107"/>
                  <a:pt x="86309" y="467334"/>
                </a:cubicBezTo>
                <a:lnTo>
                  <a:pt x="147739" y="315311"/>
                </a:lnTo>
                <a:cubicBezTo>
                  <a:pt x="149549" y="310832"/>
                  <a:pt x="150479" y="306048"/>
                  <a:pt x="150478" y="301217"/>
                </a:cubicBezTo>
                <a:lnTo>
                  <a:pt x="150472" y="235709"/>
                </a:lnTo>
                <a:lnTo>
                  <a:pt x="38278" y="194880"/>
                </a:lnTo>
                <a:cubicBezTo>
                  <a:pt x="8099" y="183897"/>
                  <a:pt x="-7462" y="150533"/>
                  <a:pt x="3523" y="120357"/>
                </a:cubicBezTo>
                <a:cubicBezTo>
                  <a:pt x="14507" y="90184"/>
                  <a:pt x="47877" y="74625"/>
                  <a:pt x="78056" y="85607"/>
                </a:cubicBezTo>
                <a:lnTo>
                  <a:pt x="161503" y="115976"/>
                </a:lnTo>
                <a:close/>
                <a:moveTo>
                  <a:pt x="208615" y="169516"/>
                </a:moveTo>
                <a:lnTo>
                  <a:pt x="66356" y="117746"/>
                </a:lnTo>
                <a:cubicBezTo>
                  <a:pt x="53930" y="113224"/>
                  <a:pt x="40189" y="119631"/>
                  <a:pt x="35666" y="132056"/>
                </a:cubicBezTo>
                <a:cubicBezTo>
                  <a:pt x="31143" y="144480"/>
                  <a:pt x="37551" y="158218"/>
                  <a:pt x="49977" y="162741"/>
                </a:cubicBezTo>
                <a:lnTo>
                  <a:pt x="164422" y="204389"/>
                </a:lnTo>
                <a:cubicBezTo>
                  <a:pt x="176584" y="208815"/>
                  <a:pt x="184678" y="220373"/>
                  <a:pt x="184679" y="233314"/>
                </a:cubicBezTo>
                <a:lnTo>
                  <a:pt x="184685" y="301216"/>
                </a:lnTo>
                <a:cubicBezTo>
                  <a:pt x="184686" y="310438"/>
                  <a:pt x="182909" y="319572"/>
                  <a:pt x="179455" y="328123"/>
                </a:cubicBezTo>
                <a:lnTo>
                  <a:pt x="118025" y="480145"/>
                </a:lnTo>
                <a:cubicBezTo>
                  <a:pt x="113071" y="492405"/>
                  <a:pt x="118995" y="506359"/>
                  <a:pt x="131255" y="511311"/>
                </a:cubicBezTo>
                <a:cubicBezTo>
                  <a:pt x="143517" y="516265"/>
                  <a:pt x="157473" y="510341"/>
                  <a:pt x="162426" y="498082"/>
                </a:cubicBezTo>
                <a:lnTo>
                  <a:pt x="217684" y="361338"/>
                </a:lnTo>
                <a:cubicBezTo>
                  <a:pt x="228055" y="335670"/>
                  <a:pt x="264400" y="335670"/>
                  <a:pt x="274771" y="361338"/>
                </a:cubicBezTo>
                <a:lnTo>
                  <a:pt x="330028" y="498083"/>
                </a:lnTo>
                <a:cubicBezTo>
                  <a:pt x="334982" y="510342"/>
                  <a:pt x="348938" y="516266"/>
                  <a:pt x="361200" y="511312"/>
                </a:cubicBezTo>
                <a:cubicBezTo>
                  <a:pt x="373460" y="506360"/>
                  <a:pt x="379384" y="492406"/>
                  <a:pt x="374430" y="480147"/>
                </a:cubicBezTo>
                <a:lnTo>
                  <a:pt x="313043" y="328231"/>
                </a:lnTo>
                <a:cubicBezTo>
                  <a:pt x="309588" y="319681"/>
                  <a:pt x="307812" y="310546"/>
                  <a:pt x="307812" y="301324"/>
                </a:cubicBezTo>
                <a:lnTo>
                  <a:pt x="307822" y="233312"/>
                </a:lnTo>
                <a:cubicBezTo>
                  <a:pt x="307822" y="220373"/>
                  <a:pt x="315917" y="208815"/>
                  <a:pt x="328079" y="204389"/>
                </a:cubicBezTo>
                <a:lnTo>
                  <a:pt x="442522" y="162741"/>
                </a:lnTo>
                <a:cubicBezTo>
                  <a:pt x="454950" y="158218"/>
                  <a:pt x="461356" y="144480"/>
                  <a:pt x="456833" y="132056"/>
                </a:cubicBezTo>
                <a:cubicBezTo>
                  <a:pt x="452311" y="119631"/>
                  <a:pt x="438570" y="113224"/>
                  <a:pt x="426144" y="117746"/>
                </a:cubicBezTo>
                <a:lnTo>
                  <a:pt x="283884" y="169517"/>
                </a:lnTo>
                <a:cubicBezTo>
                  <a:pt x="272454" y="174862"/>
                  <a:pt x="259701" y="177847"/>
                  <a:pt x="246250" y="177847"/>
                </a:cubicBezTo>
                <a:cubicBezTo>
                  <a:pt x="232798" y="177847"/>
                  <a:pt x="220045" y="174861"/>
                  <a:pt x="208615" y="169516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1349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3" name="Graphic 48" descr="Call&#10;Keyword: fluent-icon, teams;&#10;Metaphor: handset, audio;&#10;&#10;Used in call scenarios.">
            <a:extLst>
              <a:ext uri="{FF2B5EF4-FFF2-40B4-BE49-F238E27FC236}">
                <a16:creationId xmlns:a16="http://schemas.microsoft.com/office/drawing/2014/main" id="{18C1279C-9C3B-FD02-06BC-10DD33D4FEBB}"/>
              </a:ext>
            </a:extLst>
          </p:cNvPr>
          <p:cNvSpPr/>
          <p:nvPr/>
        </p:nvSpPr>
        <p:spPr>
          <a:xfrm>
            <a:off x="1692895" y="653059"/>
            <a:ext cx="415955" cy="541271"/>
          </a:xfrm>
          <a:custGeom>
            <a:avLst/>
            <a:gdLst>
              <a:gd name="connsiteX0" fmla="*/ 122711 w 415955"/>
              <a:gd name="connsiteY0" fmla="*/ 544 h 541271"/>
              <a:gd name="connsiteX1" fmla="*/ 185888 w 415955"/>
              <a:gd name="connsiteY1" fmla="*/ 36391 h 541271"/>
              <a:gd name="connsiteX2" fmla="*/ 213516 w 415955"/>
              <a:gd name="connsiteY2" fmla="*/ 91642 h 541271"/>
              <a:gd name="connsiteX3" fmla="*/ 196798 w 415955"/>
              <a:gd name="connsiteY3" fmla="*/ 180891 h 541271"/>
              <a:gd name="connsiteX4" fmla="*/ 161289 w 415955"/>
              <a:gd name="connsiteY4" fmla="*/ 222959 h 541271"/>
              <a:gd name="connsiteX5" fmla="*/ 160832 w 415955"/>
              <a:gd name="connsiteY5" fmla="*/ 226113 h 541271"/>
              <a:gd name="connsiteX6" fmla="*/ 219619 w 415955"/>
              <a:gd name="connsiteY6" fmla="*/ 334187 h 541271"/>
              <a:gd name="connsiteX7" fmla="*/ 229532 w 415955"/>
              <a:gd name="connsiteY7" fmla="*/ 336741 h 541271"/>
              <a:gd name="connsiteX8" fmla="*/ 283979 w 415955"/>
              <a:gd name="connsiteY8" fmla="*/ 319725 h 541271"/>
              <a:gd name="connsiteX9" fmla="*/ 364683 w 415955"/>
              <a:gd name="connsiteY9" fmla="*/ 347621 h 541271"/>
              <a:gd name="connsiteX10" fmla="*/ 404089 w 415955"/>
              <a:gd name="connsiteY10" fmla="*/ 404934 h 541271"/>
              <a:gd name="connsiteX11" fmla="*/ 411988 w 415955"/>
              <a:gd name="connsiteY11" fmla="*/ 461866 h 541271"/>
              <a:gd name="connsiteX12" fmla="*/ 364787 w 415955"/>
              <a:gd name="connsiteY12" fmla="*/ 523501 h 541271"/>
              <a:gd name="connsiteX13" fmla="*/ 253632 w 415955"/>
              <a:gd name="connsiteY13" fmla="*/ 531963 h 541271"/>
              <a:gd name="connsiteX14" fmla="*/ 107710 w 415955"/>
              <a:gd name="connsiteY14" fmla="*/ 408728 h 541271"/>
              <a:gd name="connsiteX15" fmla="*/ 9827 w 415955"/>
              <a:gd name="connsiteY15" fmla="*/ 198389 h 541271"/>
              <a:gd name="connsiteX16" fmla="*/ 30200 w 415955"/>
              <a:gd name="connsiteY16" fmla="*/ 44949 h 541271"/>
              <a:gd name="connsiteX17" fmla="*/ 122711 w 415955"/>
              <a:gd name="connsiteY17" fmla="*/ 544 h 541271"/>
              <a:gd name="connsiteX18" fmla="*/ 155261 w 415955"/>
              <a:gd name="connsiteY18" fmla="*/ 51706 h 541271"/>
              <a:gd name="connsiteX19" fmla="*/ 127362 w 415955"/>
              <a:gd name="connsiteY19" fmla="*/ 34470 h 541271"/>
              <a:gd name="connsiteX20" fmla="*/ 55730 w 415955"/>
              <a:gd name="connsiteY20" fmla="*/ 67770 h 541271"/>
              <a:gd name="connsiteX21" fmla="*/ 42863 w 415955"/>
              <a:gd name="connsiteY21" fmla="*/ 189378 h 541271"/>
              <a:gd name="connsiteX22" fmla="*/ 135606 w 415955"/>
              <a:gd name="connsiteY22" fmla="*/ 388873 h 541271"/>
              <a:gd name="connsiteX23" fmla="*/ 264740 w 415955"/>
              <a:gd name="connsiteY23" fmla="*/ 499572 h 541271"/>
              <a:gd name="connsiteX24" fmla="*/ 345628 w 415955"/>
              <a:gd name="connsiteY24" fmla="*/ 495119 h 541271"/>
              <a:gd name="connsiteX25" fmla="*/ 380236 w 415955"/>
              <a:gd name="connsiteY25" fmla="*/ 449045 h 541271"/>
              <a:gd name="connsiteX26" fmla="*/ 375873 w 415955"/>
              <a:gd name="connsiteY26" fmla="*/ 424335 h 541271"/>
              <a:gd name="connsiteX27" fmla="*/ 336466 w 415955"/>
              <a:gd name="connsiteY27" fmla="*/ 367021 h 541271"/>
              <a:gd name="connsiteX28" fmla="*/ 294193 w 415955"/>
              <a:gd name="connsiteY28" fmla="*/ 352409 h 541271"/>
              <a:gd name="connsiteX29" fmla="*/ 239746 w 415955"/>
              <a:gd name="connsiteY29" fmla="*/ 369425 h 541271"/>
              <a:gd name="connsiteX30" fmla="*/ 193572 w 415955"/>
              <a:gd name="connsiteY30" fmla="*/ 356415 h 541271"/>
              <a:gd name="connsiteX31" fmla="*/ 127158 w 415955"/>
              <a:gd name="connsiteY31" fmla="*/ 232322 h 541271"/>
              <a:gd name="connsiteX32" fmla="*/ 131860 w 415955"/>
              <a:gd name="connsiteY32" fmla="*/ 205454 h 541271"/>
              <a:gd name="connsiteX33" fmla="*/ 172910 w 415955"/>
              <a:gd name="connsiteY33" fmla="*/ 156357 h 541271"/>
              <a:gd name="connsiteX34" fmla="*/ 182890 w 415955"/>
              <a:gd name="connsiteY34" fmla="*/ 106956 h 541271"/>
              <a:gd name="connsiteX35" fmla="*/ 155261 w 415955"/>
              <a:gd name="connsiteY35" fmla="*/ 51706 h 541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415955" h="541271">
                <a:moveTo>
                  <a:pt x="122711" y="544"/>
                </a:moveTo>
                <a:cubicBezTo>
                  <a:pt x="150941" y="-3326"/>
                  <a:pt x="174662" y="13942"/>
                  <a:pt x="185888" y="36391"/>
                </a:cubicBezTo>
                <a:lnTo>
                  <a:pt x="213516" y="91642"/>
                </a:lnTo>
                <a:cubicBezTo>
                  <a:pt x="228846" y="122296"/>
                  <a:pt x="220047" y="158256"/>
                  <a:pt x="196798" y="180891"/>
                </a:cubicBezTo>
                <a:cubicBezTo>
                  <a:pt x="183086" y="194242"/>
                  <a:pt x="169295" y="209499"/>
                  <a:pt x="161289" y="222959"/>
                </a:cubicBezTo>
                <a:cubicBezTo>
                  <a:pt x="160854" y="223693"/>
                  <a:pt x="160587" y="224782"/>
                  <a:pt x="160832" y="226113"/>
                </a:cubicBezTo>
                <a:cubicBezTo>
                  <a:pt x="168222" y="266188"/>
                  <a:pt x="195390" y="305796"/>
                  <a:pt x="219619" y="334187"/>
                </a:cubicBezTo>
                <a:cubicBezTo>
                  <a:pt x="221785" y="336726"/>
                  <a:pt x="225594" y="337971"/>
                  <a:pt x="229532" y="336741"/>
                </a:cubicBezTo>
                <a:lnTo>
                  <a:pt x="283979" y="319725"/>
                </a:lnTo>
                <a:cubicBezTo>
                  <a:pt x="314088" y="310317"/>
                  <a:pt x="346811" y="321628"/>
                  <a:pt x="364683" y="347621"/>
                </a:cubicBezTo>
                <a:lnTo>
                  <a:pt x="404089" y="404934"/>
                </a:lnTo>
                <a:cubicBezTo>
                  <a:pt x="414779" y="420483"/>
                  <a:pt x="420177" y="441585"/>
                  <a:pt x="411988" y="461866"/>
                </a:cubicBezTo>
                <a:cubicBezTo>
                  <a:pt x="404674" y="479980"/>
                  <a:pt x="390521" y="506128"/>
                  <a:pt x="364787" y="523501"/>
                </a:cubicBezTo>
                <a:cubicBezTo>
                  <a:pt x="338081" y="541530"/>
                  <a:pt x="301495" y="548379"/>
                  <a:pt x="253632" y="531963"/>
                </a:cubicBezTo>
                <a:cubicBezTo>
                  <a:pt x="200144" y="513618"/>
                  <a:pt x="149607" y="467595"/>
                  <a:pt x="107710" y="408728"/>
                </a:cubicBezTo>
                <a:cubicBezTo>
                  <a:pt x="65560" y="349511"/>
                  <a:pt x="30870" y="275528"/>
                  <a:pt x="9827" y="198389"/>
                </a:cubicBezTo>
                <a:cubicBezTo>
                  <a:pt x="-10043" y="125545"/>
                  <a:pt x="1966" y="76532"/>
                  <a:pt x="30200" y="44949"/>
                </a:cubicBezTo>
                <a:cubicBezTo>
                  <a:pt x="57440" y="14477"/>
                  <a:pt x="96480" y="4141"/>
                  <a:pt x="122711" y="544"/>
                </a:cubicBezTo>
                <a:close/>
                <a:moveTo>
                  <a:pt x="155261" y="51706"/>
                </a:moveTo>
                <a:cubicBezTo>
                  <a:pt x="149012" y="39210"/>
                  <a:pt x="137839" y="33033"/>
                  <a:pt x="127362" y="34470"/>
                </a:cubicBezTo>
                <a:cubicBezTo>
                  <a:pt x="104064" y="37664"/>
                  <a:pt x="74888" y="46340"/>
                  <a:pt x="55730" y="67770"/>
                </a:cubicBezTo>
                <a:cubicBezTo>
                  <a:pt x="37565" y="88090"/>
                  <a:pt x="24994" y="123871"/>
                  <a:pt x="42863" y="189378"/>
                </a:cubicBezTo>
                <a:cubicBezTo>
                  <a:pt x="62921" y="262906"/>
                  <a:pt x="95958" y="333166"/>
                  <a:pt x="135606" y="388873"/>
                </a:cubicBezTo>
                <a:cubicBezTo>
                  <a:pt x="175507" y="444931"/>
                  <a:pt x="220841" y="484516"/>
                  <a:pt x="264740" y="499572"/>
                </a:cubicBezTo>
                <a:cubicBezTo>
                  <a:pt x="303838" y="512981"/>
                  <a:pt x="328979" y="506360"/>
                  <a:pt x="345628" y="495119"/>
                </a:cubicBezTo>
                <a:cubicBezTo>
                  <a:pt x="363247" y="483223"/>
                  <a:pt x="374076" y="464302"/>
                  <a:pt x="380236" y="449045"/>
                </a:cubicBezTo>
                <a:cubicBezTo>
                  <a:pt x="383060" y="442053"/>
                  <a:pt x="381848" y="433024"/>
                  <a:pt x="375873" y="424335"/>
                </a:cubicBezTo>
                <a:lnTo>
                  <a:pt x="336466" y="367021"/>
                </a:lnTo>
                <a:cubicBezTo>
                  <a:pt x="327105" y="353406"/>
                  <a:pt x="309963" y="347481"/>
                  <a:pt x="294193" y="352409"/>
                </a:cubicBezTo>
                <a:lnTo>
                  <a:pt x="239746" y="369425"/>
                </a:lnTo>
                <a:cubicBezTo>
                  <a:pt x="223478" y="374508"/>
                  <a:pt x="205147" y="369978"/>
                  <a:pt x="193572" y="356415"/>
                </a:cubicBezTo>
                <a:cubicBezTo>
                  <a:pt x="168357" y="326870"/>
                  <a:pt x="136235" y="281557"/>
                  <a:pt x="127158" y="232322"/>
                </a:cubicBezTo>
                <a:cubicBezTo>
                  <a:pt x="125499" y="223332"/>
                  <a:pt x="126931" y="213741"/>
                  <a:pt x="131860" y="205454"/>
                </a:cubicBezTo>
                <a:cubicBezTo>
                  <a:pt x="142236" y="188010"/>
                  <a:pt x="158676" y="170216"/>
                  <a:pt x="172910" y="156357"/>
                </a:cubicBezTo>
                <a:cubicBezTo>
                  <a:pt x="186814" y="142821"/>
                  <a:pt x="190753" y="122681"/>
                  <a:pt x="182890" y="106956"/>
                </a:cubicBezTo>
                <a:lnTo>
                  <a:pt x="155261" y="51706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1369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4" name="Graphic 93" descr="Archive&#10;Keyword: fluent-icon, outlook;&#10;Metaphor: box, package, collection;&#10;&#10;Used for archiving content.">
            <a:extLst>
              <a:ext uri="{FF2B5EF4-FFF2-40B4-BE49-F238E27FC236}">
                <a16:creationId xmlns:a16="http://schemas.microsoft.com/office/drawing/2014/main" id="{AFF9FD79-59E8-CE2E-56AB-3BB1138291F8}"/>
              </a:ext>
            </a:extLst>
          </p:cNvPr>
          <p:cNvSpPr/>
          <p:nvPr/>
        </p:nvSpPr>
        <p:spPr>
          <a:xfrm>
            <a:off x="2588272" y="679163"/>
            <a:ext cx="486242" cy="486242"/>
          </a:xfrm>
          <a:custGeom>
            <a:avLst/>
            <a:gdLst>
              <a:gd name="connsiteX0" fmla="*/ 195182 w 486242"/>
              <a:gd name="connsiteY0" fmla="*/ 219152 h 486242"/>
              <a:gd name="connsiteX1" fmla="*/ 178061 w 486242"/>
              <a:gd name="connsiteY1" fmla="*/ 236273 h 486242"/>
              <a:gd name="connsiteX2" fmla="*/ 195182 w 486242"/>
              <a:gd name="connsiteY2" fmla="*/ 253394 h 486242"/>
              <a:gd name="connsiteX3" fmla="*/ 291061 w 486242"/>
              <a:gd name="connsiteY3" fmla="*/ 253394 h 486242"/>
              <a:gd name="connsiteX4" fmla="*/ 308182 w 486242"/>
              <a:gd name="connsiteY4" fmla="*/ 236273 h 486242"/>
              <a:gd name="connsiteX5" fmla="*/ 291061 w 486242"/>
              <a:gd name="connsiteY5" fmla="*/ 219152 h 486242"/>
              <a:gd name="connsiteX6" fmla="*/ 195182 w 486242"/>
              <a:gd name="connsiteY6" fmla="*/ 219152 h 486242"/>
              <a:gd name="connsiteX7" fmla="*/ 0 w 486242"/>
              <a:gd name="connsiteY7" fmla="*/ 51364 h 486242"/>
              <a:gd name="connsiteX8" fmla="*/ 51364 w 486242"/>
              <a:gd name="connsiteY8" fmla="*/ 0 h 486242"/>
              <a:gd name="connsiteX9" fmla="*/ 434879 w 486242"/>
              <a:gd name="connsiteY9" fmla="*/ 0 h 486242"/>
              <a:gd name="connsiteX10" fmla="*/ 486243 w 486242"/>
              <a:gd name="connsiteY10" fmla="*/ 51364 h 486242"/>
              <a:gd name="connsiteX11" fmla="*/ 486243 w 486242"/>
              <a:gd name="connsiteY11" fmla="*/ 106152 h 486242"/>
              <a:gd name="connsiteX12" fmla="*/ 458849 w 486242"/>
              <a:gd name="connsiteY12" fmla="*/ 151591 h 486242"/>
              <a:gd name="connsiteX13" fmla="*/ 458849 w 486242"/>
              <a:gd name="connsiteY13" fmla="*/ 386940 h 486242"/>
              <a:gd name="connsiteX14" fmla="*/ 359546 w 486242"/>
              <a:gd name="connsiteY14" fmla="*/ 486243 h 486242"/>
              <a:gd name="connsiteX15" fmla="*/ 126697 w 486242"/>
              <a:gd name="connsiteY15" fmla="*/ 486243 h 486242"/>
              <a:gd name="connsiteX16" fmla="*/ 27394 w 486242"/>
              <a:gd name="connsiteY16" fmla="*/ 386940 h 486242"/>
              <a:gd name="connsiteX17" fmla="*/ 27394 w 486242"/>
              <a:gd name="connsiteY17" fmla="*/ 151591 h 486242"/>
              <a:gd name="connsiteX18" fmla="*/ 0 w 486242"/>
              <a:gd name="connsiteY18" fmla="*/ 106152 h 486242"/>
              <a:gd name="connsiteX19" fmla="*/ 0 w 486242"/>
              <a:gd name="connsiteY19" fmla="*/ 51364 h 486242"/>
              <a:gd name="connsiteX20" fmla="*/ 61636 w 486242"/>
              <a:gd name="connsiteY20" fmla="*/ 157515 h 486242"/>
              <a:gd name="connsiteX21" fmla="*/ 61636 w 486242"/>
              <a:gd name="connsiteY21" fmla="*/ 386940 h 486242"/>
              <a:gd name="connsiteX22" fmla="*/ 126697 w 486242"/>
              <a:gd name="connsiteY22" fmla="*/ 452000 h 486242"/>
              <a:gd name="connsiteX23" fmla="*/ 359546 w 486242"/>
              <a:gd name="connsiteY23" fmla="*/ 452000 h 486242"/>
              <a:gd name="connsiteX24" fmla="*/ 424606 w 486242"/>
              <a:gd name="connsiteY24" fmla="*/ 386940 h 486242"/>
              <a:gd name="connsiteX25" fmla="*/ 424606 w 486242"/>
              <a:gd name="connsiteY25" fmla="*/ 157515 h 486242"/>
              <a:gd name="connsiteX26" fmla="*/ 61636 w 486242"/>
              <a:gd name="connsiteY26" fmla="*/ 157515 h 486242"/>
              <a:gd name="connsiteX27" fmla="*/ 51364 w 486242"/>
              <a:gd name="connsiteY27" fmla="*/ 34242 h 486242"/>
              <a:gd name="connsiteX28" fmla="*/ 34242 w 486242"/>
              <a:gd name="connsiteY28" fmla="*/ 51364 h 486242"/>
              <a:gd name="connsiteX29" fmla="*/ 34242 w 486242"/>
              <a:gd name="connsiteY29" fmla="*/ 106152 h 486242"/>
              <a:gd name="connsiteX30" fmla="*/ 51364 w 486242"/>
              <a:gd name="connsiteY30" fmla="*/ 123273 h 486242"/>
              <a:gd name="connsiteX31" fmla="*/ 434879 w 486242"/>
              <a:gd name="connsiteY31" fmla="*/ 123273 h 486242"/>
              <a:gd name="connsiteX32" fmla="*/ 452000 w 486242"/>
              <a:gd name="connsiteY32" fmla="*/ 106152 h 486242"/>
              <a:gd name="connsiteX33" fmla="*/ 452000 w 486242"/>
              <a:gd name="connsiteY33" fmla="*/ 51364 h 486242"/>
              <a:gd name="connsiteX34" fmla="*/ 434879 w 486242"/>
              <a:gd name="connsiteY34" fmla="*/ 34242 h 486242"/>
              <a:gd name="connsiteX35" fmla="*/ 51364 w 486242"/>
              <a:gd name="connsiteY35" fmla="*/ 34242 h 4862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486242" h="486242">
                <a:moveTo>
                  <a:pt x="195182" y="219152"/>
                </a:moveTo>
                <a:cubicBezTo>
                  <a:pt x="185726" y="219152"/>
                  <a:pt x="178061" y="226817"/>
                  <a:pt x="178061" y="236273"/>
                </a:cubicBezTo>
                <a:cubicBezTo>
                  <a:pt x="178061" y="245729"/>
                  <a:pt x="185726" y="253394"/>
                  <a:pt x="195182" y="253394"/>
                </a:cubicBezTo>
                <a:lnTo>
                  <a:pt x="291061" y="253394"/>
                </a:lnTo>
                <a:cubicBezTo>
                  <a:pt x="300517" y="253394"/>
                  <a:pt x="308182" y="245729"/>
                  <a:pt x="308182" y="236273"/>
                </a:cubicBezTo>
                <a:cubicBezTo>
                  <a:pt x="308182" y="226817"/>
                  <a:pt x="300517" y="219152"/>
                  <a:pt x="291061" y="219152"/>
                </a:cubicBezTo>
                <a:lnTo>
                  <a:pt x="195182" y="219152"/>
                </a:lnTo>
                <a:close/>
                <a:moveTo>
                  <a:pt x="0" y="51364"/>
                </a:moveTo>
                <a:cubicBezTo>
                  <a:pt x="0" y="22996"/>
                  <a:pt x="22996" y="0"/>
                  <a:pt x="51364" y="0"/>
                </a:cubicBezTo>
                <a:lnTo>
                  <a:pt x="434879" y="0"/>
                </a:lnTo>
                <a:cubicBezTo>
                  <a:pt x="463247" y="0"/>
                  <a:pt x="486243" y="22996"/>
                  <a:pt x="486243" y="51364"/>
                </a:cubicBezTo>
                <a:lnTo>
                  <a:pt x="486243" y="106152"/>
                </a:lnTo>
                <a:cubicBezTo>
                  <a:pt x="486243" y="125862"/>
                  <a:pt x="475140" y="142979"/>
                  <a:pt x="458849" y="151591"/>
                </a:cubicBezTo>
                <a:lnTo>
                  <a:pt x="458849" y="386940"/>
                </a:lnTo>
                <a:cubicBezTo>
                  <a:pt x="458849" y="441784"/>
                  <a:pt x="414390" y="486243"/>
                  <a:pt x="359546" y="486243"/>
                </a:cubicBezTo>
                <a:lnTo>
                  <a:pt x="126697" y="486243"/>
                </a:lnTo>
                <a:cubicBezTo>
                  <a:pt x="71853" y="486243"/>
                  <a:pt x="27394" y="441784"/>
                  <a:pt x="27394" y="386940"/>
                </a:cubicBezTo>
                <a:lnTo>
                  <a:pt x="27394" y="151591"/>
                </a:lnTo>
                <a:cubicBezTo>
                  <a:pt x="11102" y="142979"/>
                  <a:pt x="0" y="125862"/>
                  <a:pt x="0" y="106152"/>
                </a:cubicBezTo>
                <a:lnTo>
                  <a:pt x="0" y="51364"/>
                </a:lnTo>
                <a:close/>
                <a:moveTo>
                  <a:pt x="61636" y="157515"/>
                </a:moveTo>
                <a:lnTo>
                  <a:pt x="61636" y="386940"/>
                </a:lnTo>
                <a:cubicBezTo>
                  <a:pt x="61636" y="422872"/>
                  <a:pt x="90764" y="452000"/>
                  <a:pt x="126697" y="452000"/>
                </a:cubicBezTo>
                <a:lnTo>
                  <a:pt x="359546" y="452000"/>
                </a:lnTo>
                <a:cubicBezTo>
                  <a:pt x="395478" y="452000"/>
                  <a:pt x="424606" y="422872"/>
                  <a:pt x="424606" y="386940"/>
                </a:cubicBezTo>
                <a:lnTo>
                  <a:pt x="424606" y="157515"/>
                </a:lnTo>
                <a:lnTo>
                  <a:pt x="61636" y="157515"/>
                </a:lnTo>
                <a:close/>
                <a:moveTo>
                  <a:pt x="51364" y="34242"/>
                </a:moveTo>
                <a:cubicBezTo>
                  <a:pt x="41908" y="34242"/>
                  <a:pt x="34242" y="41908"/>
                  <a:pt x="34242" y="51364"/>
                </a:cubicBezTo>
                <a:lnTo>
                  <a:pt x="34242" y="106152"/>
                </a:lnTo>
                <a:cubicBezTo>
                  <a:pt x="34242" y="115608"/>
                  <a:pt x="41908" y="123273"/>
                  <a:pt x="51364" y="123273"/>
                </a:cubicBezTo>
                <a:lnTo>
                  <a:pt x="434879" y="123273"/>
                </a:lnTo>
                <a:cubicBezTo>
                  <a:pt x="444335" y="123273"/>
                  <a:pt x="452000" y="115608"/>
                  <a:pt x="452000" y="106152"/>
                </a:cubicBezTo>
                <a:lnTo>
                  <a:pt x="452000" y="51364"/>
                </a:lnTo>
                <a:cubicBezTo>
                  <a:pt x="452000" y="41908"/>
                  <a:pt x="444335" y="34242"/>
                  <a:pt x="434879" y="34242"/>
                </a:cubicBezTo>
                <a:lnTo>
                  <a:pt x="51364" y="34242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1369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5" name="Graphic 8" descr="Alert&#10;Keyword: fluent-icon;&#10;Metaphor: bell, alarm, chime;&#10;Action: destructive;&#10;&#10;Used for alerts or notifications.">
            <a:extLst>
              <a:ext uri="{FF2B5EF4-FFF2-40B4-BE49-F238E27FC236}">
                <a16:creationId xmlns:a16="http://schemas.microsoft.com/office/drawing/2014/main" id="{42356A5B-486E-DD7B-9484-958881B16F0C}"/>
              </a:ext>
            </a:extLst>
          </p:cNvPr>
          <p:cNvSpPr/>
          <p:nvPr/>
        </p:nvSpPr>
        <p:spPr>
          <a:xfrm>
            <a:off x="3538322" y="675738"/>
            <a:ext cx="452000" cy="493091"/>
          </a:xfrm>
          <a:custGeom>
            <a:avLst/>
            <a:gdLst>
              <a:gd name="connsiteX0" fmla="*/ 226000 w 452000"/>
              <a:gd name="connsiteY0" fmla="*/ 0 h 493091"/>
              <a:gd name="connsiteX1" fmla="*/ 41091 w 452000"/>
              <a:gd name="connsiteY1" fmla="*/ 184909 h 493091"/>
              <a:gd name="connsiteX2" fmla="*/ 41091 w 452000"/>
              <a:gd name="connsiteY2" fmla="*/ 283585 h 493091"/>
              <a:gd name="connsiteX3" fmla="*/ 1467 w 452000"/>
              <a:gd name="connsiteY3" fmla="*/ 382740 h 493091"/>
              <a:gd name="connsiteX4" fmla="*/ 3534 w 452000"/>
              <a:gd name="connsiteY4" fmla="*/ 401886 h 493091"/>
              <a:gd name="connsiteX5" fmla="*/ 20545 w 452000"/>
              <a:gd name="connsiteY5" fmla="*/ 410909 h 493091"/>
              <a:gd name="connsiteX6" fmla="*/ 143818 w 452000"/>
              <a:gd name="connsiteY6" fmla="*/ 410909 h 493091"/>
              <a:gd name="connsiteX7" fmla="*/ 226000 w 452000"/>
              <a:gd name="connsiteY7" fmla="*/ 493091 h 493091"/>
              <a:gd name="connsiteX8" fmla="*/ 308182 w 452000"/>
              <a:gd name="connsiteY8" fmla="*/ 410909 h 493091"/>
              <a:gd name="connsiteX9" fmla="*/ 431455 w 452000"/>
              <a:gd name="connsiteY9" fmla="*/ 410909 h 493091"/>
              <a:gd name="connsiteX10" fmla="*/ 448466 w 452000"/>
              <a:gd name="connsiteY10" fmla="*/ 401886 h 493091"/>
              <a:gd name="connsiteX11" fmla="*/ 450533 w 452000"/>
              <a:gd name="connsiteY11" fmla="*/ 382740 h 493091"/>
              <a:gd name="connsiteX12" fmla="*/ 410909 w 452000"/>
              <a:gd name="connsiteY12" fmla="*/ 283585 h 493091"/>
              <a:gd name="connsiteX13" fmla="*/ 410909 w 452000"/>
              <a:gd name="connsiteY13" fmla="*/ 184909 h 493091"/>
              <a:gd name="connsiteX14" fmla="*/ 226000 w 452000"/>
              <a:gd name="connsiteY14" fmla="*/ 0 h 493091"/>
              <a:gd name="connsiteX15" fmla="*/ 267091 w 452000"/>
              <a:gd name="connsiteY15" fmla="*/ 410909 h 493091"/>
              <a:gd name="connsiteX16" fmla="*/ 226000 w 452000"/>
              <a:gd name="connsiteY16" fmla="*/ 452000 h 493091"/>
              <a:gd name="connsiteX17" fmla="*/ 184909 w 452000"/>
              <a:gd name="connsiteY17" fmla="*/ 410909 h 493091"/>
              <a:gd name="connsiteX18" fmla="*/ 267091 w 452000"/>
              <a:gd name="connsiteY18" fmla="*/ 410909 h 493091"/>
              <a:gd name="connsiteX19" fmla="*/ 82182 w 452000"/>
              <a:gd name="connsiteY19" fmla="*/ 184909 h 493091"/>
              <a:gd name="connsiteX20" fmla="*/ 226000 w 452000"/>
              <a:gd name="connsiteY20" fmla="*/ 41091 h 493091"/>
              <a:gd name="connsiteX21" fmla="*/ 369818 w 452000"/>
              <a:gd name="connsiteY21" fmla="*/ 184909 h 493091"/>
              <a:gd name="connsiteX22" fmla="*/ 369818 w 452000"/>
              <a:gd name="connsiteY22" fmla="*/ 287538 h 493091"/>
              <a:gd name="connsiteX23" fmla="*/ 371285 w 452000"/>
              <a:gd name="connsiteY23" fmla="*/ 295162 h 493091"/>
              <a:gd name="connsiteX24" fmla="*/ 401119 w 452000"/>
              <a:gd name="connsiteY24" fmla="*/ 369818 h 493091"/>
              <a:gd name="connsiteX25" fmla="*/ 50881 w 452000"/>
              <a:gd name="connsiteY25" fmla="*/ 369818 h 493091"/>
              <a:gd name="connsiteX26" fmla="*/ 80715 w 452000"/>
              <a:gd name="connsiteY26" fmla="*/ 295162 h 493091"/>
              <a:gd name="connsiteX27" fmla="*/ 82182 w 452000"/>
              <a:gd name="connsiteY27" fmla="*/ 287538 h 493091"/>
              <a:gd name="connsiteX28" fmla="*/ 82182 w 452000"/>
              <a:gd name="connsiteY28" fmla="*/ 184909 h 493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452000" h="493091">
                <a:moveTo>
                  <a:pt x="226000" y="0"/>
                </a:moveTo>
                <a:cubicBezTo>
                  <a:pt x="123879" y="0"/>
                  <a:pt x="41091" y="82787"/>
                  <a:pt x="41091" y="184909"/>
                </a:cubicBezTo>
                <a:lnTo>
                  <a:pt x="41091" y="283585"/>
                </a:lnTo>
                <a:lnTo>
                  <a:pt x="1467" y="382740"/>
                </a:lnTo>
                <a:cubicBezTo>
                  <a:pt x="-1062" y="389070"/>
                  <a:pt x="-288" y="396242"/>
                  <a:pt x="3534" y="401886"/>
                </a:cubicBezTo>
                <a:cubicBezTo>
                  <a:pt x="7357" y="407530"/>
                  <a:pt x="13729" y="410909"/>
                  <a:pt x="20545" y="410909"/>
                </a:cubicBezTo>
                <a:lnTo>
                  <a:pt x="143818" y="410909"/>
                </a:lnTo>
                <a:cubicBezTo>
                  <a:pt x="143818" y="456453"/>
                  <a:pt x="180457" y="493091"/>
                  <a:pt x="226000" y="493091"/>
                </a:cubicBezTo>
                <a:cubicBezTo>
                  <a:pt x="271543" y="493091"/>
                  <a:pt x="308182" y="456453"/>
                  <a:pt x="308182" y="410909"/>
                </a:cubicBezTo>
                <a:lnTo>
                  <a:pt x="431455" y="410909"/>
                </a:lnTo>
                <a:cubicBezTo>
                  <a:pt x="438272" y="410909"/>
                  <a:pt x="444643" y="407530"/>
                  <a:pt x="448466" y="401886"/>
                </a:cubicBezTo>
                <a:cubicBezTo>
                  <a:pt x="452288" y="396242"/>
                  <a:pt x="453063" y="389070"/>
                  <a:pt x="450533" y="382740"/>
                </a:cubicBezTo>
                <a:lnTo>
                  <a:pt x="410909" y="283585"/>
                </a:lnTo>
                <a:lnTo>
                  <a:pt x="410909" y="184909"/>
                </a:lnTo>
                <a:cubicBezTo>
                  <a:pt x="410909" y="82787"/>
                  <a:pt x="328123" y="0"/>
                  <a:pt x="226000" y="0"/>
                </a:cubicBezTo>
                <a:close/>
                <a:moveTo>
                  <a:pt x="267091" y="410909"/>
                </a:moveTo>
                <a:cubicBezTo>
                  <a:pt x="267091" y="433758"/>
                  <a:pt x="248849" y="452000"/>
                  <a:pt x="226000" y="452000"/>
                </a:cubicBezTo>
                <a:cubicBezTo>
                  <a:pt x="203152" y="452000"/>
                  <a:pt x="184909" y="433758"/>
                  <a:pt x="184909" y="410909"/>
                </a:cubicBezTo>
                <a:lnTo>
                  <a:pt x="267091" y="410909"/>
                </a:lnTo>
                <a:close/>
                <a:moveTo>
                  <a:pt x="82182" y="184909"/>
                </a:moveTo>
                <a:cubicBezTo>
                  <a:pt x="82182" y="105481"/>
                  <a:pt x="146571" y="41091"/>
                  <a:pt x="226000" y="41091"/>
                </a:cubicBezTo>
                <a:cubicBezTo>
                  <a:pt x="305429" y="41091"/>
                  <a:pt x="369818" y="105481"/>
                  <a:pt x="369818" y="184909"/>
                </a:cubicBezTo>
                <a:lnTo>
                  <a:pt x="369818" y="287538"/>
                </a:lnTo>
                <a:cubicBezTo>
                  <a:pt x="369818" y="290149"/>
                  <a:pt x="370316" y="292738"/>
                  <a:pt x="371285" y="295162"/>
                </a:cubicBezTo>
                <a:lnTo>
                  <a:pt x="401119" y="369818"/>
                </a:lnTo>
                <a:lnTo>
                  <a:pt x="50881" y="369818"/>
                </a:lnTo>
                <a:lnTo>
                  <a:pt x="80715" y="295162"/>
                </a:lnTo>
                <a:cubicBezTo>
                  <a:pt x="81684" y="292738"/>
                  <a:pt x="82182" y="290149"/>
                  <a:pt x="82182" y="287538"/>
                </a:cubicBezTo>
                <a:lnTo>
                  <a:pt x="82182" y="184909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2053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6" name="Graphic 139" descr="Device Meeting Room&#10;Keyword: fluent-icon;&#10;Metaphor: office, remote, touch screen, conference room;&#10;&#10;Used to represent meeting room devices in office.">
            <a:extLst>
              <a:ext uri="{FF2B5EF4-FFF2-40B4-BE49-F238E27FC236}">
                <a16:creationId xmlns:a16="http://schemas.microsoft.com/office/drawing/2014/main" id="{C95D129D-0ED6-3FE1-2D72-9A75D233D853}"/>
              </a:ext>
            </a:extLst>
          </p:cNvPr>
          <p:cNvSpPr/>
          <p:nvPr/>
        </p:nvSpPr>
        <p:spPr>
          <a:xfrm>
            <a:off x="4417243" y="675738"/>
            <a:ext cx="547878" cy="472545"/>
          </a:xfrm>
          <a:custGeom>
            <a:avLst/>
            <a:gdLst>
              <a:gd name="connsiteX0" fmla="*/ 146649 w 547878"/>
              <a:gd name="connsiteY0" fmla="*/ 0 h 472545"/>
              <a:gd name="connsiteX1" fmla="*/ 68082 w 547878"/>
              <a:gd name="connsiteY1" fmla="*/ 60302 h 472545"/>
              <a:gd name="connsiteX2" fmla="*/ 2943 w 547878"/>
              <a:gd name="connsiteY2" fmla="*/ 303689 h 472545"/>
              <a:gd name="connsiteX3" fmla="*/ 85249 w 547878"/>
              <a:gd name="connsiteY3" fmla="*/ 410909 h 472545"/>
              <a:gd name="connsiteX4" fmla="*/ 462631 w 547878"/>
              <a:gd name="connsiteY4" fmla="*/ 410909 h 472545"/>
              <a:gd name="connsiteX5" fmla="*/ 544936 w 547878"/>
              <a:gd name="connsiteY5" fmla="*/ 303689 h 472545"/>
              <a:gd name="connsiteX6" fmla="*/ 479797 w 547878"/>
              <a:gd name="connsiteY6" fmla="*/ 60302 h 472545"/>
              <a:gd name="connsiteX7" fmla="*/ 401230 w 547878"/>
              <a:gd name="connsiteY7" fmla="*/ 0 h 472545"/>
              <a:gd name="connsiteX8" fmla="*/ 146649 w 547878"/>
              <a:gd name="connsiteY8" fmla="*/ 0 h 472545"/>
              <a:gd name="connsiteX9" fmla="*/ 101163 w 547878"/>
              <a:gd name="connsiteY9" fmla="*/ 69153 h 472545"/>
              <a:gd name="connsiteX10" fmla="*/ 146649 w 547878"/>
              <a:gd name="connsiteY10" fmla="*/ 34242 h 472545"/>
              <a:gd name="connsiteX11" fmla="*/ 401230 w 547878"/>
              <a:gd name="connsiteY11" fmla="*/ 34242 h 472545"/>
              <a:gd name="connsiteX12" fmla="*/ 446716 w 547878"/>
              <a:gd name="connsiteY12" fmla="*/ 69153 h 472545"/>
              <a:gd name="connsiteX13" fmla="*/ 511855 w 547878"/>
              <a:gd name="connsiteY13" fmla="*/ 312542 h 472545"/>
              <a:gd name="connsiteX14" fmla="*/ 462631 w 547878"/>
              <a:gd name="connsiteY14" fmla="*/ 376667 h 472545"/>
              <a:gd name="connsiteX15" fmla="*/ 85249 w 547878"/>
              <a:gd name="connsiteY15" fmla="*/ 376667 h 472545"/>
              <a:gd name="connsiteX16" fmla="*/ 36024 w 547878"/>
              <a:gd name="connsiteY16" fmla="*/ 312542 h 472545"/>
              <a:gd name="connsiteX17" fmla="*/ 101163 w 547878"/>
              <a:gd name="connsiteY17" fmla="*/ 69153 h 472545"/>
              <a:gd name="connsiteX18" fmla="*/ 126679 w 547878"/>
              <a:gd name="connsiteY18" fmla="*/ 438303 h 472545"/>
              <a:gd name="connsiteX19" fmla="*/ 109558 w 547878"/>
              <a:gd name="connsiteY19" fmla="*/ 455425 h 472545"/>
              <a:gd name="connsiteX20" fmla="*/ 126679 w 547878"/>
              <a:gd name="connsiteY20" fmla="*/ 472546 h 472545"/>
              <a:gd name="connsiteX21" fmla="*/ 421188 w 547878"/>
              <a:gd name="connsiteY21" fmla="*/ 472546 h 472545"/>
              <a:gd name="connsiteX22" fmla="*/ 438310 w 547878"/>
              <a:gd name="connsiteY22" fmla="*/ 455425 h 472545"/>
              <a:gd name="connsiteX23" fmla="*/ 421188 w 547878"/>
              <a:gd name="connsiteY23" fmla="*/ 438303 h 472545"/>
              <a:gd name="connsiteX24" fmla="*/ 126679 w 547878"/>
              <a:gd name="connsiteY24" fmla="*/ 438303 h 4725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547878" h="472545">
                <a:moveTo>
                  <a:pt x="146649" y="0"/>
                </a:moveTo>
                <a:cubicBezTo>
                  <a:pt x="109828" y="0"/>
                  <a:pt x="77601" y="24735"/>
                  <a:pt x="68082" y="60302"/>
                </a:cubicBezTo>
                <a:lnTo>
                  <a:pt x="2943" y="303689"/>
                </a:lnTo>
                <a:cubicBezTo>
                  <a:pt x="-11537" y="357793"/>
                  <a:pt x="29237" y="410909"/>
                  <a:pt x="85249" y="410909"/>
                </a:cubicBezTo>
                <a:lnTo>
                  <a:pt x="462631" y="410909"/>
                </a:lnTo>
                <a:cubicBezTo>
                  <a:pt x="518642" y="410909"/>
                  <a:pt x="559416" y="357793"/>
                  <a:pt x="544936" y="303689"/>
                </a:cubicBezTo>
                <a:lnTo>
                  <a:pt x="479797" y="60302"/>
                </a:lnTo>
                <a:cubicBezTo>
                  <a:pt x="470279" y="24735"/>
                  <a:pt x="438051" y="0"/>
                  <a:pt x="401230" y="0"/>
                </a:cubicBezTo>
                <a:lnTo>
                  <a:pt x="146649" y="0"/>
                </a:lnTo>
                <a:close/>
                <a:moveTo>
                  <a:pt x="101163" y="69153"/>
                </a:moveTo>
                <a:cubicBezTo>
                  <a:pt x="106673" y="48563"/>
                  <a:pt x="125331" y="34242"/>
                  <a:pt x="146649" y="34242"/>
                </a:cubicBezTo>
                <a:lnTo>
                  <a:pt x="401230" y="34242"/>
                </a:lnTo>
                <a:cubicBezTo>
                  <a:pt x="422548" y="34242"/>
                  <a:pt x="441206" y="48563"/>
                  <a:pt x="446716" y="69153"/>
                </a:cubicBezTo>
                <a:lnTo>
                  <a:pt x="511855" y="312542"/>
                </a:lnTo>
                <a:cubicBezTo>
                  <a:pt x="520515" y="344900"/>
                  <a:pt x="496129" y="376667"/>
                  <a:pt x="462631" y="376667"/>
                </a:cubicBezTo>
                <a:lnTo>
                  <a:pt x="85249" y="376667"/>
                </a:lnTo>
                <a:cubicBezTo>
                  <a:pt x="51750" y="376667"/>
                  <a:pt x="27364" y="344900"/>
                  <a:pt x="36024" y="312542"/>
                </a:cubicBezTo>
                <a:lnTo>
                  <a:pt x="101163" y="69153"/>
                </a:lnTo>
                <a:close/>
                <a:moveTo>
                  <a:pt x="126679" y="438303"/>
                </a:moveTo>
                <a:cubicBezTo>
                  <a:pt x="117223" y="438303"/>
                  <a:pt x="109558" y="445968"/>
                  <a:pt x="109558" y="455425"/>
                </a:cubicBezTo>
                <a:cubicBezTo>
                  <a:pt x="109558" y="464881"/>
                  <a:pt x="117223" y="472546"/>
                  <a:pt x="126679" y="472546"/>
                </a:cubicBezTo>
                <a:lnTo>
                  <a:pt x="421188" y="472546"/>
                </a:lnTo>
                <a:cubicBezTo>
                  <a:pt x="430644" y="472546"/>
                  <a:pt x="438310" y="464881"/>
                  <a:pt x="438310" y="455425"/>
                </a:cubicBezTo>
                <a:cubicBezTo>
                  <a:pt x="438310" y="445968"/>
                  <a:pt x="430644" y="438303"/>
                  <a:pt x="421188" y="438303"/>
                </a:cubicBezTo>
                <a:lnTo>
                  <a:pt x="126679" y="438303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1369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7" name="Graphic 12" descr="Arrow Trending Lines&#10;Keyword: fluent-icon;&#10;Metaphor: arrow, direction, growth, ascending, data;&#10;Direction: mirror;&#10;&#10;Used to indicate growth.">
            <a:extLst>
              <a:ext uri="{FF2B5EF4-FFF2-40B4-BE49-F238E27FC236}">
                <a16:creationId xmlns:a16="http://schemas.microsoft.com/office/drawing/2014/main" id="{E08C3678-3599-9C06-E7FC-A05E161F8E4C}"/>
              </a:ext>
            </a:extLst>
          </p:cNvPr>
          <p:cNvSpPr/>
          <p:nvPr/>
        </p:nvSpPr>
        <p:spPr>
          <a:xfrm>
            <a:off x="5375802" y="648344"/>
            <a:ext cx="520496" cy="547879"/>
          </a:xfrm>
          <a:custGeom>
            <a:avLst/>
            <a:gdLst>
              <a:gd name="connsiteX0" fmla="*/ 376637 w 520496"/>
              <a:gd name="connsiteY0" fmla="*/ 0 h 547879"/>
              <a:gd name="connsiteX1" fmla="*/ 501383 w 520496"/>
              <a:gd name="connsiteY1" fmla="*/ 14 h 547879"/>
              <a:gd name="connsiteX2" fmla="*/ 504131 w 520496"/>
              <a:gd name="connsiteY2" fmla="*/ 396 h 547879"/>
              <a:gd name="connsiteX3" fmla="*/ 506838 w 520496"/>
              <a:gd name="connsiteY3" fmla="*/ 1152 h 547879"/>
              <a:gd name="connsiteX4" fmla="*/ 508489 w 520496"/>
              <a:gd name="connsiteY4" fmla="*/ 1852 h 547879"/>
              <a:gd name="connsiteX5" fmla="*/ 514480 w 520496"/>
              <a:gd name="connsiteY5" fmla="*/ 5982 h 547879"/>
              <a:gd name="connsiteX6" fmla="*/ 515595 w 520496"/>
              <a:gd name="connsiteY6" fmla="*/ 7188 h 547879"/>
              <a:gd name="connsiteX7" fmla="*/ 516787 w 520496"/>
              <a:gd name="connsiteY7" fmla="*/ 8733 h 547879"/>
              <a:gd name="connsiteX8" fmla="*/ 518272 w 520496"/>
              <a:gd name="connsiteY8" fmla="*/ 11201 h 547879"/>
              <a:gd name="connsiteX9" fmla="*/ 519332 w 520496"/>
              <a:gd name="connsiteY9" fmla="*/ 13676 h 547879"/>
              <a:gd name="connsiteX10" fmla="*/ 519855 w 520496"/>
              <a:gd name="connsiteY10" fmla="*/ 15431 h 547879"/>
              <a:gd name="connsiteX11" fmla="*/ 520228 w 520496"/>
              <a:gd name="connsiteY11" fmla="*/ 17184 h 547879"/>
              <a:gd name="connsiteX12" fmla="*/ 520485 w 520496"/>
              <a:gd name="connsiteY12" fmla="*/ 19765 h 547879"/>
              <a:gd name="connsiteX13" fmla="*/ 520496 w 520496"/>
              <a:gd name="connsiteY13" fmla="*/ 143925 h 547879"/>
              <a:gd name="connsiteX14" fmla="*/ 499951 w 520496"/>
              <a:gd name="connsiteY14" fmla="*/ 164470 h 547879"/>
              <a:gd name="connsiteX15" fmla="*/ 479594 w 520496"/>
              <a:gd name="connsiteY15" fmla="*/ 146713 h 547879"/>
              <a:gd name="connsiteX16" fmla="*/ 479405 w 520496"/>
              <a:gd name="connsiteY16" fmla="*/ 143925 h 547879"/>
              <a:gd name="connsiteX17" fmla="*/ 479394 w 520496"/>
              <a:gd name="connsiteY17" fmla="*/ 70101 h 547879"/>
              <a:gd name="connsiteX18" fmla="*/ 302996 w 520496"/>
              <a:gd name="connsiteY18" fmla="*/ 246537 h 547879"/>
              <a:gd name="connsiteX19" fmla="*/ 276243 w 520496"/>
              <a:gd name="connsiteY19" fmla="*/ 248529 h 547879"/>
              <a:gd name="connsiteX20" fmla="*/ 273940 w 520496"/>
              <a:gd name="connsiteY20" fmla="*/ 246540 h 547879"/>
              <a:gd name="connsiteX21" fmla="*/ 190927 w 520496"/>
              <a:gd name="connsiteY21" fmla="*/ 166808 h 547879"/>
              <a:gd name="connsiteX22" fmla="*/ 35073 w 520496"/>
              <a:gd name="connsiteY22" fmla="*/ 322662 h 547879"/>
              <a:gd name="connsiteX23" fmla="*/ 6018 w 520496"/>
              <a:gd name="connsiteY23" fmla="*/ 322662 h 547879"/>
              <a:gd name="connsiteX24" fmla="*/ 4028 w 520496"/>
              <a:gd name="connsiteY24" fmla="*/ 295912 h 547879"/>
              <a:gd name="connsiteX25" fmla="*/ 6018 w 520496"/>
              <a:gd name="connsiteY25" fmla="*/ 293606 h 547879"/>
              <a:gd name="connsiteX26" fmla="*/ 176399 w 520496"/>
              <a:gd name="connsiteY26" fmla="*/ 123225 h 547879"/>
              <a:gd name="connsiteX27" fmla="*/ 203151 w 520496"/>
              <a:gd name="connsiteY27" fmla="*/ 121236 h 547879"/>
              <a:gd name="connsiteX28" fmla="*/ 205455 w 520496"/>
              <a:gd name="connsiteY28" fmla="*/ 123225 h 547879"/>
              <a:gd name="connsiteX29" fmla="*/ 288467 w 520496"/>
              <a:gd name="connsiteY29" fmla="*/ 202956 h 547879"/>
              <a:gd name="connsiteX30" fmla="*/ 450302 w 520496"/>
              <a:gd name="connsiteY30" fmla="*/ 41091 h 547879"/>
              <a:gd name="connsiteX31" fmla="*/ 376637 w 520496"/>
              <a:gd name="connsiteY31" fmla="*/ 41091 h 547879"/>
              <a:gd name="connsiteX32" fmla="*/ 356280 w 520496"/>
              <a:gd name="connsiteY32" fmla="*/ 23333 h 547879"/>
              <a:gd name="connsiteX33" fmla="*/ 356091 w 520496"/>
              <a:gd name="connsiteY33" fmla="*/ 20545 h 547879"/>
              <a:gd name="connsiteX34" fmla="*/ 373851 w 520496"/>
              <a:gd name="connsiteY34" fmla="*/ 188 h 547879"/>
              <a:gd name="connsiteX35" fmla="*/ 376637 w 520496"/>
              <a:gd name="connsiteY35" fmla="*/ 0 h 547879"/>
              <a:gd name="connsiteX36" fmla="*/ 20545 w 520496"/>
              <a:gd name="connsiteY36" fmla="*/ 410909 h 547879"/>
              <a:gd name="connsiteX37" fmla="*/ 41091 w 520496"/>
              <a:gd name="connsiteY37" fmla="*/ 431455 h 547879"/>
              <a:gd name="connsiteX38" fmla="*/ 41091 w 520496"/>
              <a:gd name="connsiteY38" fmla="*/ 527334 h 547879"/>
              <a:gd name="connsiteX39" fmla="*/ 20545 w 520496"/>
              <a:gd name="connsiteY39" fmla="*/ 547879 h 547879"/>
              <a:gd name="connsiteX40" fmla="*/ 0 w 520496"/>
              <a:gd name="connsiteY40" fmla="*/ 527334 h 547879"/>
              <a:gd name="connsiteX41" fmla="*/ 0 w 520496"/>
              <a:gd name="connsiteY41" fmla="*/ 431455 h 547879"/>
              <a:gd name="connsiteX42" fmla="*/ 20545 w 520496"/>
              <a:gd name="connsiteY42" fmla="*/ 410909 h 547879"/>
              <a:gd name="connsiteX43" fmla="*/ 178061 w 520496"/>
              <a:gd name="connsiteY43" fmla="*/ 321879 h 547879"/>
              <a:gd name="connsiteX44" fmla="*/ 157515 w 520496"/>
              <a:gd name="connsiteY44" fmla="*/ 301334 h 547879"/>
              <a:gd name="connsiteX45" fmla="*/ 136970 w 520496"/>
              <a:gd name="connsiteY45" fmla="*/ 321879 h 547879"/>
              <a:gd name="connsiteX46" fmla="*/ 136970 w 520496"/>
              <a:gd name="connsiteY46" fmla="*/ 527334 h 547879"/>
              <a:gd name="connsiteX47" fmla="*/ 157515 w 520496"/>
              <a:gd name="connsiteY47" fmla="*/ 547879 h 547879"/>
              <a:gd name="connsiteX48" fmla="*/ 178061 w 520496"/>
              <a:gd name="connsiteY48" fmla="*/ 527334 h 547879"/>
              <a:gd name="connsiteX49" fmla="*/ 178061 w 520496"/>
              <a:gd name="connsiteY49" fmla="*/ 321879 h 547879"/>
              <a:gd name="connsiteX50" fmla="*/ 294485 w 520496"/>
              <a:gd name="connsiteY50" fmla="*/ 356121 h 547879"/>
              <a:gd name="connsiteX51" fmla="*/ 315031 w 520496"/>
              <a:gd name="connsiteY51" fmla="*/ 376667 h 547879"/>
              <a:gd name="connsiteX52" fmla="*/ 315031 w 520496"/>
              <a:gd name="connsiteY52" fmla="*/ 527334 h 547879"/>
              <a:gd name="connsiteX53" fmla="*/ 294485 w 520496"/>
              <a:gd name="connsiteY53" fmla="*/ 547879 h 547879"/>
              <a:gd name="connsiteX54" fmla="*/ 273940 w 520496"/>
              <a:gd name="connsiteY54" fmla="*/ 527334 h 547879"/>
              <a:gd name="connsiteX55" fmla="*/ 273940 w 520496"/>
              <a:gd name="connsiteY55" fmla="*/ 376667 h 547879"/>
              <a:gd name="connsiteX56" fmla="*/ 294485 w 520496"/>
              <a:gd name="connsiteY56" fmla="*/ 356121 h 547879"/>
              <a:gd name="connsiteX57" fmla="*/ 452000 w 520496"/>
              <a:gd name="connsiteY57" fmla="*/ 239697 h 547879"/>
              <a:gd name="connsiteX58" fmla="*/ 431455 w 520496"/>
              <a:gd name="connsiteY58" fmla="*/ 219152 h 547879"/>
              <a:gd name="connsiteX59" fmla="*/ 410909 w 520496"/>
              <a:gd name="connsiteY59" fmla="*/ 239697 h 547879"/>
              <a:gd name="connsiteX60" fmla="*/ 410909 w 520496"/>
              <a:gd name="connsiteY60" fmla="*/ 527334 h 547879"/>
              <a:gd name="connsiteX61" fmla="*/ 431455 w 520496"/>
              <a:gd name="connsiteY61" fmla="*/ 547879 h 547879"/>
              <a:gd name="connsiteX62" fmla="*/ 452000 w 520496"/>
              <a:gd name="connsiteY62" fmla="*/ 527334 h 547879"/>
              <a:gd name="connsiteX63" fmla="*/ 452000 w 520496"/>
              <a:gd name="connsiteY63" fmla="*/ 239697 h 547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520496" h="547879">
                <a:moveTo>
                  <a:pt x="376637" y="0"/>
                </a:moveTo>
                <a:lnTo>
                  <a:pt x="501383" y="14"/>
                </a:lnTo>
                <a:lnTo>
                  <a:pt x="504131" y="396"/>
                </a:lnTo>
                <a:lnTo>
                  <a:pt x="506838" y="1152"/>
                </a:lnTo>
                <a:lnTo>
                  <a:pt x="508489" y="1852"/>
                </a:lnTo>
                <a:cubicBezTo>
                  <a:pt x="510659" y="2807"/>
                  <a:pt x="512692" y="4195"/>
                  <a:pt x="514480" y="5982"/>
                </a:cubicBezTo>
                <a:lnTo>
                  <a:pt x="515595" y="7188"/>
                </a:lnTo>
                <a:lnTo>
                  <a:pt x="516787" y="8733"/>
                </a:lnTo>
                <a:lnTo>
                  <a:pt x="518272" y="11201"/>
                </a:lnTo>
                <a:lnTo>
                  <a:pt x="519332" y="13676"/>
                </a:lnTo>
                <a:lnTo>
                  <a:pt x="519855" y="15431"/>
                </a:lnTo>
                <a:lnTo>
                  <a:pt x="520228" y="17184"/>
                </a:lnTo>
                <a:lnTo>
                  <a:pt x="520485" y="19765"/>
                </a:lnTo>
                <a:lnTo>
                  <a:pt x="520496" y="143925"/>
                </a:lnTo>
                <a:cubicBezTo>
                  <a:pt x="520496" y="155272"/>
                  <a:pt x="511300" y="164470"/>
                  <a:pt x="499951" y="164470"/>
                </a:cubicBezTo>
                <a:cubicBezTo>
                  <a:pt x="489552" y="164470"/>
                  <a:pt x="480956" y="156741"/>
                  <a:pt x="479594" y="146713"/>
                </a:cubicBezTo>
                <a:lnTo>
                  <a:pt x="479405" y="143925"/>
                </a:lnTo>
                <a:lnTo>
                  <a:pt x="479394" y="70101"/>
                </a:lnTo>
                <a:lnTo>
                  <a:pt x="302996" y="246537"/>
                </a:lnTo>
                <a:cubicBezTo>
                  <a:pt x="295701" y="253832"/>
                  <a:pt x="284286" y="254495"/>
                  <a:pt x="276243" y="248529"/>
                </a:cubicBezTo>
                <a:lnTo>
                  <a:pt x="273940" y="246540"/>
                </a:lnTo>
                <a:lnTo>
                  <a:pt x="190927" y="166808"/>
                </a:lnTo>
                <a:lnTo>
                  <a:pt x="35073" y="322662"/>
                </a:lnTo>
                <a:cubicBezTo>
                  <a:pt x="27050" y="330686"/>
                  <a:pt x="14041" y="330686"/>
                  <a:pt x="6018" y="322662"/>
                </a:cubicBezTo>
                <a:cubicBezTo>
                  <a:pt x="-1277" y="315367"/>
                  <a:pt x="-1939" y="303955"/>
                  <a:pt x="4028" y="295912"/>
                </a:cubicBezTo>
                <a:lnTo>
                  <a:pt x="6018" y="293606"/>
                </a:lnTo>
                <a:lnTo>
                  <a:pt x="176399" y="123225"/>
                </a:lnTo>
                <a:cubicBezTo>
                  <a:pt x="183693" y="115931"/>
                  <a:pt x="195108" y="115268"/>
                  <a:pt x="203151" y="121236"/>
                </a:cubicBezTo>
                <a:lnTo>
                  <a:pt x="205455" y="123225"/>
                </a:lnTo>
                <a:lnTo>
                  <a:pt x="288467" y="202956"/>
                </a:lnTo>
                <a:lnTo>
                  <a:pt x="450302" y="41091"/>
                </a:lnTo>
                <a:lnTo>
                  <a:pt x="376637" y="41091"/>
                </a:lnTo>
                <a:cubicBezTo>
                  <a:pt x="366235" y="41091"/>
                  <a:pt x="357639" y="33362"/>
                  <a:pt x="356280" y="23333"/>
                </a:cubicBezTo>
                <a:lnTo>
                  <a:pt x="356091" y="20545"/>
                </a:lnTo>
                <a:cubicBezTo>
                  <a:pt x="356091" y="10144"/>
                  <a:pt x="363822" y="1548"/>
                  <a:pt x="373851" y="188"/>
                </a:cubicBezTo>
                <a:lnTo>
                  <a:pt x="376637" y="0"/>
                </a:lnTo>
                <a:close/>
                <a:moveTo>
                  <a:pt x="20545" y="410909"/>
                </a:moveTo>
                <a:cubicBezTo>
                  <a:pt x="31892" y="410909"/>
                  <a:pt x="41091" y="420108"/>
                  <a:pt x="41091" y="431455"/>
                </a:cubicBezTo>
                <a:lnTo>
                  <a:pt x="41091" y="527334"/>
                </a:lnTo>
                <a:cubicBezTo>
                  <a:pt x="41091" y="538680"/>
                  <a:pt x="31892" y="547879"/>
                  <a:pt x="20545" y="547879"/>
                </a:cubicBezTo>
                <a:cubicBezTo>
                  <a:pt x="9199" y="547879"/>
                  <a:pt x="0" y="538680"/>
                  <a:pt x="0" y="527334"/>
                </a:cubicBezTo>
                <a:lnTo>
                  <a:pt x="0" y="431455"/>
                </a:lnTo>
                <a:cubicBezTo>
                  <a:pt x="0" y="420108"/>
                  <a:pt x="9199" y="410909"/>
                  <a:pt x="20545" y="410909"/>
                </a:cubicBezTo>
                <a:close/>
                <a:moveTo>
                  <a:pt x="178061" y="321879"/>
                </a:moveTo>
                <a:cubicBezTo>
                  <a:pt x="178061" y="310532"/>
                  <a:pt x="168862" y="301334"/>
                  <a:pt x="157515" y="301334"/>
                </a:cubicBezTo>
                <a:cubicBezTo>
                  <a:pt x="146168" y="301334"/>
                  <a:pt x="136970" y="310532"/>
                  <a:pt x="136970" y="321879"/>
                </a:cubicBezTo>
                <a:lnTo>
                  <a:pt x="136970" y="527334"/>
                </a:lnTo>
                <a:cubicBezTo>
                  <a:pt x="136970" y="538680"/>
                  <a:pt x="146168" y="547879"/>
                  <a:pt x="157515" y="547879"/>
                </a:cubicBezTo>
                <a:cubicBezTo>
                  <a:pt x="168862" y="547879"/>
                  <a:pt x="178061" y="538680"/>
                  <a:pt x="178061" y="527334"/>
                </a:cubicBezTo>
                <a:lnTo>
                  <a:pt x="178061" y="321879"/>
                </a:lnTo>
                <a:close/>
                <a:moveTo>
                  <a:pt x="294485" y="356121"/>
                </a:moveTo>
                <a:cubicBezTo>
                  <a:pt x="305832" y="356121"/>
                  <a:pt x="315031" y="365320"/>
                  <a:pt x="315031" y="376667"/>
                </a:cubicBezTo>
                <a:lnTo>
                  <a:pt x="315031" y="527334"/>
                </a:lnTo>
                <a:cubicBezTo>
                  <a:pt x="315031" y="538680"/>
                  <a:pt x="305832" y="547879"/>
                  <a:pt x="294485" y="547879"/>
                </a:cubicBezTo>
                <a:cubicBezTo>
                  <a:pt x="283139" y="547879"/>
                  <a:pt x="273940" y="538680"/>
                  <a:pt x="273940" y="527334"/>
                </a:cubicBezTo>
                <a:lnTo>
                  <a:pt x="273940" y="376667"/>
                </a:lnTo>
                <a:cubicBezTo>
                  <a:pt x="273940" y="365320"/>
                  <a:pt x="283139" y="356121"/>
                  <a:pt x="294485" y="356121"/>
                </a:cubicBezTo>
                <a:close/>
                <a:moveTo>
                  <a:pt x="452000" y="239697"/>
                </a:moveTo>
                <a:cubicBezTo>
                  <a:pt x="452000" y="228351"/>
                  <a:pt x="442801" y="219152"/>
                  <a:pt x="431455" y="219152"/>
                </a:cubicBezTo>
                <a:cubicBezTo>
                  <a:pt x="420108" y="219152"/>
                  <a:pt x="410909" y="228351"/>
                  <a:pt x="410909" y="239697"/>
                </a:cubicBezTo>
                <a:lnTo>
                  <a:pt x="410909" y="527334"/>
                </a:lnTo>
                <a:cubicBezTo>
                  <a:pt x="410909" y="538680"/>
                  <a:pt x="420108" y="547879"/>
                  <a:pt x="431455" y="547879"/>
                </a:cubicBezTo>
                <a:cubicBezTo>
                  <a:pt x="442801" y="547879"/>
                  <a:pt x="452000" y="538680"/>
                  <a:pt x="452000" y="527334"/>
                </a:cubicBezTo>
                <a:lnTo>
                  <a:pt x="452000" y="239697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8" name="Graphic 14" descr="Arrow Expand&#10;Keyword: fluent-icon;&#10;Metaphor: point, direction, fit, scale;&#10;&#10;Used for expanding content.">
            <a:extLst>
              <a:ext uri="{FF2B5EF4-FFF2-40B4-BE49-F238E27FC236}">
                <a16:creationId xmlns:a16="http://schemas.microsoft.com/office/drawing/2014/main" id="{E22F6293-4758-3E28-8022-B4428B748D64}"/>
              </a:ext>
            </a:extLst>
          </p:cNvPr>
          <p:cNvSpPr/>
          <p:nvPr/>
        </p:nvSpPr>
        <p:spPr>
          <a:xfrm>
            <a:off x="6310046" y="675738"/>
            <a:ext cx="493228" cy="493206"/>
          </a:xfrm>
          <a:custGeom>
            <a:avLst/>
            <a:gdLst>
              <a:gd name="connsiteX0" fmla="*/ 125889 w 493228"/>
              <a:gd name="connsiteY0" fmla="*/ 338307 h 493206"/>
              <a:gd name="connsiteX1" fmla="*/ 154945 w 493228"/>
              <a:gd name="connsiteY1" fmla="*/ 338307 h 493206"/>
              <a:gd name="connsiteX2" fmla="*/ 154945 w 493228"/>
              <a:gd name="connsiteY2" fmla="*/ 367361 h 493206"/>
              <a:gd name="connsiteX3" fmla="*/ 70156 w 493228"/>
              <a:gd name="connsiteY3" fmla="*/ 452115 h 493206"/>
              <a:gd name="connsiteX4" fmla="*/ 130121 w 493228"/>
              <a:gd name="connsiteY4" fmla="*/ 452115 h 493206"/>
              <a:gd name="connsiteX5" fmla="*/ 150479 w 493228"/>
              <a:gd name="connsiteY5" fmla="*/ 469872 h 493206"/>
              <a:gd name="connsiteX6" fmla="*/ 150667 w 493228"/>
              <a:gd name="connsiteY6" fmla="*/ 472661 h 493206"/>
              <a:gd name="connsiteX7" fmla="*/ 130121 w 493228"/>
              <a:gd name="connsiteY7" fmla="*/ 493206 h 493206"/>
              <a:gd name="connsiteX8" fmla="*/ 20545 w 493228"/>
              <a:gd name="connsiteY8" fmla="*/ 493206 h 493206"/>
              <a:gd name="connsiteX9" fmla="*/ 0 w 493228"/>
              <a:gd name="connsiteY9" fmla="*/ 472661 h 493206"/>
              <a:gd name="connsiteX10" fmla="*/ 0 w 493228"/>
              <a:gd name="connsiteY10" fmla="*/ 363085 h 493206"/>
              <a:gd name="connsiteX11" fmla="*/ 20545 w 493228"/>
              <a:gd name="connsiteY11" fmla="*/ 342540 h 493206"/>
              <a:gd name="connsiteX12" fmla="*/ 41091 w 493228"/>
              <a:gd name="connsiteY12" fmla="*/ 363085 h 493206"/>
              <a:gd name="connsiteX13" fmla="*/ 41091 w 493228"/>
              <a:gd name="connsiteY13" fmla="*/ 423050 h 493206"/>
              <a:gd name="connsiteX14" fmla="*/ 125889 w 493228"/>
              <a:gd name="connsiteY14" fmla="*/ 338307 h 493206"/>
              <a:gd name="connsiteX15" fmla="*/ 363107 w 493228"/>
              <a:gd name="connsiteY15" fmla="*/ 493206 h 493206"/>
              <a:gd name="connsiteX16" fmla="*/ 342561 w 493228"/>
              <a:gd name="connsiteY16" fmla="*/ 472661 h 493206"/>
              <a:gd name="connsiteX17" fmla="*/ 363107 w 493228"/>
              <a:gd name="connsiteY17" fmla="*/ 452115 h 493206"/>
              <a:gd name="connsiteX18" fmla="*/ 422990 w 493228"/>
              <a:gd name="connsiteY18" fmla="*/ 452115 h 493206"/>
              <a:gd name="connsiteX19" fmla="*/ 338302 w 493228"/>
              <a:gd name="connsiteY19" fmla="*/ 367356 h 493206"/>
              <a:gd name="connsiteX20" fmla="*/ 336321 w 493228"/>
              <a:gd name="connsiteY20" fmla="*/ 340606 h 493206"/>
              <a:gd name="connsiteX21" fmla="*/ 338313 w 493228"/>
              <a:gd name="connsiteY21" fmla="*/ 338302 h 493206"/>
              <a:gd name="connsiteX22" fmla="*/ 367367 w 493228"/>
              <a:gd name="connsiteY22" fmla="*/ 338313 h 493206"/>
              <a:gd name="connsiteX23" fmla="*/ 452137 w 493228"/>
              <a:gd name="connsiteY23" fmla="*/ 423133 h 493206"/>
              <a:gd name="connsiteX24" fmla="*/ 452137 w 493228"/>
              <a:gd name="connsiteY24" fmla="*/ 363085 h 493206"/>
              <a:gd name="connsiteX25" fmla="*/ 469894 w 493228"/>
              <a:gd name="connsiteY25" fmla="*/ 342729 h 493206"/>
              <a:gd name="connsiteX26" fmla="*/ 472683 w 493228"/>
              <a:gd name="connsiteY26" fmla="*/ 342540 h 493206"/>
              <a:gd name="connsiteX27" fmla="*/ 493228 w 493228"/>
              <a:gd name="connsiteY27" fmla="*/ 363085 h 493206"/>
              <a:gd name="connsiteX28" fmla="*/ 493228 w 493228"/>
              <a:gd name="connsiteY28" fmla="*/ 472661 h 493206"/>
              <a:gd name="connsiteX29" fmla="*/ 472683 w 493228"/>
              <a:gd name="connsiteY29" fmla="*/ 493206 h 493206"/>
              <a:gd name="connsiteX30" fmla="*/ 363107 w 493228"/>
              <a:gd name="connsiteY30" fmla="*/ 493206 h 493206"/>
              <a:gd name="connsiteX31" fmla="*/ 130121 w 493228"/>
              <a:gd name="connsiteY31" fmla="*/ 0 h 493206"/>
              <a:gd name="connsiteX32" fmla="*/ 150667 w 493228"/>
              <a:gd name="connsiteY32" fmla="*/ 20545 h 493206"/>
              <a:gd name="connsiteX33" fmla="*/ 130121 w 493228"/>
              <a:gd name="connsiteY33" fmla="*/ 41091 h 493206"/>
              <a:gd name="connsiteX34" fmla="*/ 70211 w 493228"/>
              <a:gd name="connsiteY34" fmla="*/ 41091 h 493206"/>
              <a:gd name="connsiteX35" fmla="*/ 154928 w 493228"/>
              <a:gd name="connsiteY35" fmla="*/ 125872 h 493206"/>
              <a:gd name="connsiteX36" fmla="*/ 156906 w 493228"/>
              <a:gd name="connsiteY36" fmla="*/ 152624 h 493206"/>
              <a:gd name="connsiteX37" fmla="*/ 154916 w 493228"/>
              <a:gd name="connsiteY37" fmla="*/ 154928 h 493206"/>
              <a:gd name="connsiteX38" fmla="*/ 125860 w 493228"/>
              <a:gd name="connsiteY38" fmla="*/ 154916 h 493206"/>
              <a:gd name="connsiteX39" fmla="*/ 41091 w 493228"/>
              <a:gd name="connsiteY39" fmla="*/ 70074 h 493206"/>
              <a:gd name="connsiteX40" fmla="*/ 41091 w 493228"/>
              <a:gd name="connsiteY40" fmla="*/ 130121 h 493206"/>
              <a:gd name="connsiteX41" fmla="*/ 23333 w 493228"/>
              <a:gd name="connsiteY41" fmla="*/ 150479 h 493206"/>
              <a:gd name="connsiteX42" fmla="*/ 20545 w 493228"/>
              <a:gd name="connsiteY42" fmla="*/ 150667 h 493206"/>
              <a:gd name="connsiteX43" fmla="*/ 0 w 493228"/>
              <a:gd name="connsiteY43" fmla="*/ 130121 h 493206"/>
              <a:gd name="connsiteX44" fmla="*/ 0 w 493228"/>
              <a:gd name="connsiteY44" fmla="*/ 20545 h 493206"/>
              <a:gd name="connsiteX45" fmla="*/ 20545 w 493228"/>
              <a:gd name="connsiteY45" fmla="*/ 0 h 493206"/>
              <a:gd name="connsiteX46" fmla="*/ 130121 w 493228"/>
              <a:gd name="connsiteY46" fmla="*/ 0 h 493206"/>
              <a:gd name="connsiteX47" fmla="*/ 472683 w 493228"/>
              <a:gd name="connsiteY47" fmla="*/ 0 h 493206"/>
              <a:gd name="connsiteX48" fmla="*/ 493228 w 493228"/>
              <a:gd name="connsiteY48" fmla="*/ 20545 h 493206"/>
              <a:gd name="connsiteX49" fmla="*/ 493228 w 493228"/>
              <a:gd name="connsiteY49" fmla="*/ 130121 h 493206"/>
              <a:gd name="connsiteX50" fmla="*/ 472683 w 493228"/>
              <a:gd name="connsiteY50" fmla="*/ 150667 h 493206"/>
              <a:gd name="connsiteX51" fmla="*/ 452137 w 493228"/>
              <a:gd name="connsiteY51" fmla="*/ 130121 h 493206"/>
              <a:gd name="connsiteX52" fmla="*/ 452137 w 493228"/>
              <a:gd name="connsiteY52" fmla="*/ 70101 h 493206"/>
              <a:gd name="connsiteX53" fmla="*/ 367364 w 493228"/>
              <a:gd name="connsiteY53" fmla="*/ 154919 h 493206"/>
              <a:gd name="connsiteX54" fmla="*/ 340614 w 493228"/>
              <a:gd name="connsiteY54" fmla="*/ 156914 h 493206"/>
              <a:gd name="connsiteX55" fmla="*/ 338310 w 493228"/>
              <a:gd name="connsiteY55" fmla="*/ 154925 h 493206"/>
              <a:gd name="connsiteX56" fmla="*/ 338304 w 493228"/>
              <a:gd name="connsiteY56" fmla="*/ 125869 h 493206"/>
              <a:gd name="connsiteX57" fmla="*/ 423018 w 493228"/>
              <a:gd name="connsiteY57" fmla="*/ 41091 h 493206"/>
              <a:gd name="connsiteX58" fmla="*/ 363107 w 493228"/>
              <a:gd name="connsiteY58" fmla="*/ 41091 h 493206"/>
              <a:gd name="connsiteX59" fmla="*/ 342748 w 493228"/>
              <a:gd name="connsiteY59" fmla="*/ 23333 h 493206"/>
              <a:gd name="connsiteX60" fmla="*/ 342561 w 493228"/>
              <a:gd name="connsiteY60" fmla="*/ 20545 h 493206"/>
              <a:gd name="connsiteX61" fmla="*/ 363107 w 493228"/>
              <a:gd name="connsiteY61" fmla="*/ 0 h 493206"/>
              <a:gd name="connsiteX62" fmla="*/ 472683 w 493228"/>
              <a:gd name="connsiteY62" fmla="*/ 0 h 493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493228" h="493206">
                <a:moveTo>
                  <a:pt x="125889" y="338307"/>
                </a:moveTo>
                <a:cubicBezTo>
                  <a:pt x="133913" y="330283"/>
                  <a:pt x="146921" y="330283"/>
                  <a:pt x="154945" y="338307"/>
                </a:cubicBezTo>
                <a:cubicBezTo>
                  <a:pt x="162968" y="346331"/>
                  <a:pt x="162968" y="359338"/>
                  <a:pt x="154945" y="367361"/>
                </a:cubicBezTo>
                <a:lnTo>
                  <a:pt x="70156" y="452115"/>
                </a:lnTo>
                <a:lnTo>
                  <a:pt x="130121" y="452115"/>
                </a:lnTo>
                <a:cubicBezTo>
                  <a:pt x="140523" y="452115"/>
                  <a:pt x="149119" y="459846"/>
                  <a:pt x="150479" y="469872"/>
                </a:cubicBezTo>
                <a:lnTo>
                  <a:pt x="150667" y="472661"/>
                </a:lnTo>
                <a:cubicBezTo>
                  <a:pt x="150667" y="484007"/>
                  <a:pt x="141468" y="493206"/>
                  <a:pt x="130121" y="493206"/>
                </a:cubicBezTo>
                <a:lnTo>
                  <a:pt x="20545" y="493206"/>
                </a:lnTo>
                <a:cubicBezTo>
                  <a:pt x="9199" y="493206"/>
                  <a:pt x="0" y="484007"/>
                  <a:pt x="0" y="472661"/>
                </a:cubicBezTo>
                <a:lnTo>
                  <a:pt x="0" y="363085"/>
                </a:lnTo>
                <a:cubicBezTo>
                  <a:pt x="0" y="351738"/>
                  <a:pt x="9199" y="342540"/>
                  <a:pt x="20545" y="342540"/>
                </a:cubicBezTo>
                <a:cubicBezTo>
                  <a:pt x="31892" y="342540"/>
                  <a:pt x="41091" y="351738"/>
                  <a:pt x="41091" y="363085"/>
                </a:cubicBezTo>
                <a:lnTo>
                  <a:pt x="41091" y="423050"/>
                </a:lnTo>
                <a:lnTo>
                  <a:pt x="125889" y="338307"/>
                </a:lnTo>
                <a:close/>
                <a:moveTo>
                  <a:pt x="363107" y="493206"/>
                </a:moveTo>
                <a:cubicBezTo>
                  <a:pt x="351760" y="493206"/>
                  <a:pt x="342561" y="484007"/>
                  <a:pt x="342561" y="472661"/>
                </a:cubicBezTo>
                <a:cubicBezTo>
                  <a:pt x="342561" y="461314"/>
                  <a:pt x="351760" y="452115"/>
                  <a:pt x="363107" y="452115"/>
                </a:cubicBezTo>
                <a:lnTo>
                  <a:pt x="422990" y="452115"/>
                </a:lnTo>
                <a:lnTo>
                  <a:pt x="338302" y="367356"/>
                </a:lnTo>
                <a:cubicBezTo>
                  <a:pt x="331009" y="360061"/>
                  <a:pt x="330352" y="348646"/>
                  <a:pt x="336321" y="340606"/>
                </a:cubicBezTo>
                <a:lnTo>
                  <a:pt x="338313" y="338302"/>
                </a:lnTo>
                <a:cubicBezTo>
                  <a:pt x="346339" y="330281"/>
                  <a:pt x="359348" y="330286"/>
                  <a:pt x="367367" y="338313"/>
                </a:cubicBezTo>
                <a:lnTo>
                  <a:pt x="452137" y="423133"/>
                </a:lnTo>
                <a:lnTo>
                  <a:pt x="452137" y="363085"/>
                </a:lnTo>
                <a:cubicBezTo>
                  <a:pt x="452137" y="352684"/>
                  <a:pt x="459868" y="344087"/>
                  <a:pt x="469894" y="342729"/>
                </a:cubicBezTo>
                <a:lnTo>
                  <a:pt x="472683" y="342540"/>
                </a:lnTo>
                <a:cubicBezTo>
                  <a:pt x="484029" y="342540"/>
                  <a:pt x="493228" y="351738"/>
                  <a:pt x="493228" y="363085"/>
                </a:cubicBezTo>
                <a:lnTo>
                  <a:pt x="493228" y="472661"/>
                </a:lnTo>
                <a:cubicBezTo>
                  <a:pt x="493228" y="484007"/>
                  <a:pt x="484029" y="493206"/>
                  <a:pt x="472683" y="493206"/>
                </a:cubicBezTo>
                <a:lnTo>
                  <a:pt x="363107" y="493206"/>
                </a:lnTo>
                <a:close/>
                <a:moveTo>
                  <a:pt x="130121" y="0"/>
                </a:moveTo>
                <a:cubicBezTo>
                  <a:pt x="141468" y="0"/>
                  <a:pt x="150667" y="9199"/>
                  <a:pt x="150667" y="20545"/>
                </a:cubicBezTo>
                <a:cubicBezTo>
                  <a:pt x="150667" y="31892"/>
                  <a:pt x="141468" y="41091"/>
                  <a:pt x="130121" y="41091"/>
                </a:cubicBezTo>
                <a:lnTo>
                  <a:pt x="70211" y="41091"/>
                </a:lnTo>
                <a:lnTo>
                  <a:pt x="154928" y="125872"/>
                </a:lnTo>
                <a:cubicBezTo>
                  <a:pt x="162219" y="133169"/>
                  <a:pt x="162877" y="144583"/>
                  <a:pt x="156906" y="152624"/>
                </a:cubicBezTo>
                <a:lnTo>
                  <a:pt x="154916" y="154928"/>
                </a:lnTo>
                <a:cubicBezTo>
                  <a:pt x="146889" y="162948"/>
                  <a:pt x="133881" y="162943"/>
                  <a:pt x="125860" y="154916"/>
                </a:cubicBezTo>
                <a:lnTo>
                  <a:pt x="41091" y="70074"/>
                </a:lnTo>
                <a:lnTo>
                  <a:pt x="41091" y="130121"/>
                </a:lnTo>
                <a:cubicBezTo>
                  <a:pt x="41091" y="140523"/>
                  <a:pt x="33362" y="149119"/>
                  <a:pt x="23333" y="150479"/>
                </a:cubicBezTo>
                <a:lnTo>
                  <a:pt x="20545" y="150667"/>
                </a:lnTo>
                <a:cubicBezTo>
                  <a:pt x="9199" y="150667"/>
                  <a:pt x="0" y="141468"/>
                  <a:pt x="0" y="130121"/>
                </a:cubicBezTo>
                <a:lnTo>
                  <a:pt x="0" y="20545"/>
                </a:lnTo>
                <a:cubicBezTo>
                  <a:pt x="0" y="9199"/>
                  <a:pt x="9199" y="0"/>
                  <a:pt x="20545" y="0"/>
                </a:cubicBezTo>
                <a:lnTo>
                  <a:pt x="130121" y="0"/>
                </a:lnTo>
                <a:close/>
                <a:moveTo>
                  <a:pt x="472683" y="0"/>
                </a:moveTo>
                <a:cubicBezTo>
                  <a:pt x="484029" y="0"/>
                  <a:pt x="493228" y="9199"/>
                  <a:pt x="493228" y="20545"/>
                </a:cubicBezTo>
                <a:lnTo>
                  <a:pt x="493228" y="130121"/>
                </a:lnTo>
                <a:cubicBezTo>
                  <a:pt x="493228" y="141468"/>
                  <a:pt x="484029" y="150667"/>
                  <a:pt x="472683" y="150667"/>
                </a:cubicBezTo>
                <a:cubicBezTo>
                  <a:pt x="461336" y="150667"/>
                  <a:pt x="452137" y="141468"/>
                  <a:pt x="452137" y="130121"/>
                </a:cubicBezTo>
                <a:lnTo>
                  <a:pt x="452137" y="70101"/>
                </a:lnTo>
                <a:lnTo>
                  <a:pt x="367364" y="154919"/>
                </a:lnTo>
                <a:cubicBezTo>
                  <a:pt x="360072" y="162214"/>
                  <a:pt x="348659" y="162880"/>
                  <a:pt x="340614" y="156914"/>
                </a:cubicBezTo>
                <a:lnTo>
                  <a:pt x="338310" y="154925"/>
                </a:lnTo>
                <a:cubicBezTo>
                  <a:pt x="330283" y="146903"/>
                  <a:pt x="330281" y="133894"/>
                  <a:pt x="338304" y="125869"/>
                </a:cubicBezTo>
                <a:lnTo>
                  <a:pt x="423018" y="41091"/>
                </a:lnTo>
                <a:lnTo>
                  <a:pt x="363107" y="41091"/>
                </a:lnTo>
                <a:cubicBezTo>
                  <a:pt x="352705" y="41091"/>
                  <a:pt x="344109" y="33362"/>
                  <a:pt x="342748" y="23333"/>
                </a:cubicBezTo>
                <a:lnTo>
                  <a:pt x="342561" y="20545"/>
                </a:lnTo>
                <a:cubicBezTo>
                  <a:pt x="342561" y="9199"/>
                  <a:pt x="351760" y="0"/>
                  <a:pt x="363107" y="0"/>
                </a:cubicBezTo>
                <a:lnTo>
                  <a:pt x="472683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9" name="Graphic 18" descr="App UI&#10;Keyword: fluent-icon;&#10;Metaphor: collection, ui, list, cell;&#10;&#10;Used for content representing app ui.">
            <a:extLst>
              <a:ext uri="{FF2B5EF4-FFF2-40B4-BE49-F238E27FC236}">
                <a16:creationId xmlns:a16="http://schemas.microsoft.com/office/drawing/2014/main" id="{84A2328D-D86C-3974-21A1-E41D1A06A28F}"/>
              </a:ext>
            </a:extLst>
          </p:cNvPr>
          <p:cNvSpPr/>
          <p:nvPr/>
        </p:nvSpPr>
        <p:spPr>
          <a:xfrm>
            <a:off x="7225361" y="648344"/>
            <a:ext cx="547958" cy="547879"/>
          </a:xfrm>
          <a:custGeom>
            <a:avLst/>
            <a:gdLst>
              <a:gd name="connsiteX0" fmla="*/ 116366 w 547958"/>
              <a:gd name="connsiteY0" fmla="*/ 383573 h 547879"/>
              <a:gd name="connsiteX1" fmla="*/ 164306 w 547958"/>
              <a:gd name="connsiteY1" fmla="*/ 431512 h 547879"/>
              <a:gd name="connsiteX2" fmla="*/ 164306 w 547958"/>
              <a:gd name="connsiteY2" fmla="*/ 499940 h 547879"/>
              <a:gd name="connsiteX3" fmla="*/ 116366 w 547958"/>
              <a:gd name="connsiteY3" fmla="*/ 547879 h 547879"/>
              <a:gd name="connsiteX4" fmla="*/ 47939 w 547958"/>
              <a:gd name="connsiteY4" fmla="*/ 547879 h 547879"/>
              <a:gd name="connsiteX5" fmla="*/ 0 w 547958"/>
              <a:gd name="connsiteY5" fmla="*/ 499940 h 547879"/>
              <a:gd name="connsiteX6" fmla="*/ 0 w 547958"/>
              <a:gd name="connsiteY6" fmla="*/ 431512 h 547879"/>
              <a:gd name="connsiteX7" fmla="*/ 47939 w 547958"/>
              <a:gd name="connsiteY7" fmla="*/ 383573 h 547879"/>
              <a:gd name="connsiteX8" fmla="*/ 116366 w 547958"/>
              <a:gd name="connsiteY8" fmla="*/ 383573 h 547879"/>
              <a:gd name="connsiteX9" fmla="*/ 116366 w 547958"/>
              <a:gd name="connsiteY9" fmla="*/ 424664 h 547879"/>
              <a:gd name="connsiteX10" fmla="*/ 47939 w 547958"/>
              <a:gd name="connsiteY10" fmla="*/ 424664 h 547879"/>
              <a:gd name="connsiteX11" fmla="*/ 41091 w 547958"/>
              <a:gd name="connsiteY11" fmla="*/ 431512 h 547879"/>
              <a:gd name="connsiteX12" fmla="*/ 41091 w 547958"/>
              <a:gd name="connsiteY12" fmla="*/ 499940 h 547879"/>
              <a:gd name="connsiteX13" fmla="*/ 47939 w 547958"/>
              <a:gd name="connsiteY13" fmla="*/ 506788 h 547879"/>
              <a:gd name="connsiteX14" fmla="*/ 116366 w 547958"/>
              <a:gd name="connsiteY14" fmla="*/ 506788 h 547879"/>
              <a:gd name="connsiteX15" fmla="*/ 123215 w 547958"/>
              <a:gd name="connsiteY15" fmla="*/ 499940 h 547879"/>
              <a:gd name="connsiteX16" fmla="*/ 123215 w 547958"/>
              <a:gd name="connsiteY16" fmla="*/ 431512 h 547879"/>
              <a:gd name="connsiteX17" fmla="*/ 116366 w 547958"/>
              <a:gd name="connsiteY17" fmla="*/ 424664 h 547879"/>
              <a:gd name="connsiteX18" fmla="*/ 212251 w 547958"/>
              <a:gd name="connsiteY18" fmla="*/ 438303 h 547879"/>
              <a:gd name="connsiteX19" fmla="*/ 527413 w 547958"/>
              <a:gd name="connsiteY19" fmla="*/ 438303 h 547879"/>
              <a:gd name="connsiteX20" fmla="*/ 547959 w 547958"/>
              <a:gd name="connsiteY20" fmla="*/ 458849 h 547879"/>
              <a:gd name="connsiteX21" fmla="*/ 530202 w 547958"/>
              <a:gd name="connsiteY21" fmla="*/ 479208 h 547879"/>
              <a:gd name="connsiteX22" fmla="*/ 527413 w 547958"/>
              <a:gd name="connsiteY22" fmla="*/ 479394 h 547879"/>
              <a:gd name="connsiteX23" fmla="*/ 212251 w 547958"/>
              <a:gd name="connsiteY23" fmla="*/ 479394 h 547879"/>
              <a:gd name="connsiteX24" fmla="*/ 191705 w 547958"/>
              <a:gd name="connsiteY24" fmla="*/ 458849 h 547879"/>
              <a:gd name="connsiteX25" fmla="*/ 209463 w 547958"/>
              <a:gd name="connsiteY25" fmla="*/ 438490 h 547879"/>
              <a:gd name="connsiteX26" fmla="*/ 212251 w 547958"/>
              <a:gd name="connsiteY26" fmla="*/ 438303 h 547879"/>
              <a:gd name="connsiteX27" fmla="*/ 527413 w 547958"/>
              <a:gd name="connsiteY27" fmla="*/ 438303 h 547879"/>
              <a:gd name="connsiteX28" fmla="*/ 212251 w 547958"/>
              <a:gd name="connsiteY28" fmla="*/ 438303 h 547879"/>
              <a:gd name="connsiteX29" fmla="*/ 116366 w 547958"/>
              <a:gd name="connsiteY29" fmla="*/ 191787 h 547879"/>
              <a:gd name="connsiteX30" fmla="*/ 164306 w 547958"/>
              <a:gd name="connsiteY30" fmla="*/ 239727 h 547879"/>
              <a:gd name="connsiteX31" fmla="*/ 164306 w 547958"/>
              <a:gd name="connsiteY31" fmla="*/ 308152 h 547879"/>
              <a:gd name="connsiteX32" fmla="*/ 116366 w 547958"/>
              <a:gd name="connsiteY32" fmla="*/ 356091 h 547879"/>
              <a:gd name="connsiteX33" fmla="*/ 47939 w 547958"/>
              <a:gd name="connsiteY33" fmla="*/ 356091 h 547879"/>
              <a:gd name="connsiteX34" fmla="*/ 0 w 547958"/>
              <a:gd name="connsiteY34" fmla="*/ 308152 h 547879"/>
              <a:gd name="connsiteX35" fmla="*/ 0 w 547958"/>
              <a:gd name="connsiteY35" fmla="*/ 239727 h 547879"/>
              <a:gd name="connsiteX36" fmla="*/ 47939 w 547958"/>
              <a:gd name="connsiteY36" fmla="*/ 191787 h 547879"/>
              <a:gd name="connsiteX37" fmla="*/ 116366 w 547958"/>
              <a:gd name="connsiteY37" fmla="*/ 191787 h 547879"/>
              <a:gd name="connsiteX38" fmla="*/ 116366 w 547958"/>
              <a:gd name="connsiteY38" fmla="*/ 232879 h 547879"/>
              <a:gd name="connsiteX39" fmla="*/ 47939 w 547958"/>
              <a:gd name="connsiteY39" fmla="*/ 232879 h 547879"/>
              <a:gd name="connsiteX40" fmla="*/ 41091 w 547958"/>
              <a:gd name="connsiteY40" fmla="*/ 239727 h 547879"/>
              <a:gd name="connsiteX41" fmla="*/ 41091 w 547958"/>
              <a:gd name="connsiteY41" fmla="*/ 308152 h 547879"/>
              <a:gd name="connsiteX42" fmla="*/ 47939 w 547958"/>
              <a:gd name="connsiteY42" fmla="*/ 315000 h 547879"/>
              <a:gd name="connsiteX43" fmla="*/ 116366 w 547958"/>
              <a:gd name="connsiteY43" fmla="*/ 315000 h 547879"/>
              <a:gd name="connsiteX44" fmla="*/ 123215 w 547958"/>
              <a:gd name="connsiteY44" fmla="*/ 308152 h 547879"/>
              <a:gd name="connsiteX45" fmla="*/ 123215 w 547958"/>
              <a:gd name="connsiteY45" fmla="*/ 239727 h 547879"/>
              <a:gd name="connsiteX46" fmla="*/ 116366 w 547958"/>
              <a:gd name="connsiteY46" fmla="*/ 232879 h 547879"/>
              <a:gd name="connsiteX47" fmla="*/ 212251 w 547958"/>
              <a:gd name="connsiteY47" fmla="*/ 246546 h 547879"/>
              <a:gd name="connsiteX48" fmla="*/ 527413 w 547958"/>
              <a:gd name="connsiteY48" fmla="*/ 246546 h 547879"/>
              <a:gd name="connsiteX49" fmla="*/ 547959 w 547958"/>
              <a:gd name="connsiteY49" fmla="*/ 267091 h 547879"/>
              <a:gd name="connsiteX50" fmla="*/ 530202 w 547958"/>
              <a:gd name="connsiteY50" fmla="*/ 287450 h 547879"/>
              <a:gd name="connsiteX51" fmla="*/ 527413 w 547958"/>
              <a:gd name="connsiteY51" fmla="*/ 287637 h 547879"/>
              <a:gd name="connsiteX52" fmla="*/ 212251 w 547958"/>
              <a:gd name="connsiteY52" fmla="*/ 287637 h 547879"/>
              <a:gd name="connsiteX53" fmla="*/ 191705 w 547958"/>
              <a:gd name="connsiteY53" fmla="*/ 267091 h 547879"/>
              <a:gd name="connsiteX54" fmla="*/ 209463 w 547958"/>
              <a:gd name="connsiteY54" fmla="*/ 246732 h 547879"/>
              <a:gd name="connsiteX55" fmla="*/ 212251 w 547958"/>
              <a:gd name="connsiteY55" fmla="*/ 246546 h 547879"/>
              <a:gd name="connsiteX56" fmla="*/ 527413 w 547958"/>
              <a:gd name="connsiteY56" fmla="*/ 246546 h 547879"/>
              <a:gd name="connsiteX57" fmla="*/ 212251 w 547958"/>
              <a:gd name="connsiteY57" fmla="*/ 246546 h 547879"/>
              <a:gd name="connsiteX58" fmla="*/ 116366 w 547958"/>
              <a:gd name="connsiteY58" fmla="*/ 0 h 547879"/>
              <a:gd name="connsiteX59" fmla="*/ 164306 w 547958"/>
              <a:gd name="connsiteY59" fmla="*/ 47939 h 547879"/>
              <a:gd name="connsiteX60" fmla="*/ 164306 w 547958"/>
              <a:gd name="connsiteY60" fmla="*/ 116366 h 547879"/>
              <a:gd name="connsiteX61" fmla="*/ 116366 w 547958"/>
              <a:gd name="connsiteY61" fmla="*/ 164306 h 547879"/>
              <a:gd name="connsiteX62" fmla="*/ 47939 w 547958"/>
              <a:gd name="connsiteY62" fmla="*/ 164306 h 547879"/>
              <a:gd name="connsiteX63" fmla="*/ 0 w 547958"/>
              <a:gd name="connsiteY63" fmla="*/ 116366 h 547879"/>
              <a:gd name="connsiteX64" fmla="*/ 0 w 547958"/>
              <a:gd name="connsiteY64" fmla="*/ 47939 h 547879"/>
              <a:gd name="connsiteX65" fmla="*/ 47939 w 547958"/>
              <a:gd name="connsiteY65" fmla="*/ 0 h 547879"/>
              <a:gd name="connsiteX66" fmla="*/ 116366 w 547958"/>
              <a:gd name="connsiteY66" fmla="*/ 0 h 547879"/>
              <a:gd name="connsiteX67" fmla="*/ 116366 w 547958"/>
              <a:gd name="connsiteY67" fmla="*/ 41091 h 547879"/>
              <a:gd name="connsiteX68" fmla="*/ 47939 w 547958"/>
              <a:gd name="connsiteY68" fmla="*/ 41091 h 547879"/>
              <a:gd name="connsiteX69" fmla="*/ 41091 w 547958"/>
              <a:gd name="connsiteY69" fmla="*/ 47939 h 547879"/>
              <a:gd name="connsiteX70" fmla="*/ 41091 w 547958"/>
              <a:gd name="connsiteY70" fmla="*/ 116366 h 547879"/>
              <a:gd name="connsiteX71" fmla="*/ 47939 w 547958"/>
              <a:gd name="connsiteY71" fmla="*/ 123215 h 547879"/>
              <a:gd name="connsiteX72" fmla="*/ 116366 w 547958"/>
              <a:gd name="connsiteY72" fmla="*/ 123215 h 547879"/>
              <a:gd name="connsiteX73" fmla="*/ 123215 w 547958"/>
              <a:gd name="connsiteY73" fmla="*/ 116366 h 547879"/>
              <a:gd name="connsiteX74" fmla="*/ 123215 w 547958"/>
              <a:gd name="connsiteY74" fmla="*/ 47939 h 547879"/>
              <a:gd name="connsiteX75" fmla="*/ 116366 w 547958"/>
              <a:gd name="connsiteY75" fmla="*/ 41091 h 547879"/>
              <a:gd name="connsiteX76" fmla="*/ 212251 w 547958"/>
              <a:gd name="connsiteY76" fmla="*/ 54788 h 547879"/>
              <a:gd name="connsiteX77" fmla="*/ 527413 w 547958"/>
              <a:gd name="connsiteY77" fmla="*/ 54788 h 547879"/>
              <a:gd name="connsiteX78" fmla="*/ 547959 w 547958"/>
              <a:gd name="connsiteY78" fmla="*/ 75333 h 547879"/>
              <a:gd name="connsiteX79" fmla="*/ 530202 w 547958"/>
              <a:gd name="connsiteY79" fmla="*/ 95691 h 547879"/>
              <a:gd name="connsiteX80" fmla="*/ 527413 w 547958"/>
              <a:gd name="connsiteY80" fmla="*/ 95879 h 547879"/>
              <a:gd name="connsiteX81" fmla="*/ 212251 w 547958"/>
              <a:gd name="connsiteY81" fmla="*/ 95879 h 547879"/>
              <a:gd name="connsiteX82" fmla="*/ 191705 w 547958"/>
              <a:gd name="connsiteY82" fmla="*/ 75333 h 547879"/>
              <a:gd name="connsiteX83" fmla="*/ 209463 w 547958"/>
              <a:gd name="connsiteY83" fmla="*/ 54976 h 547879"/>
              <a:gd name="connsiteX84" fmla="*/ 212251 w 547958"/>
              <a:gd name="connsiteY84" fmla="*/ 54788 h 547879"/>
              <a:gd name="connsiteX85" fmla="*/ 527413 w 547958"/>
              <a:gd name="connsiteY85" fmla="*/ 54788 h 547879"/>
              <a:gd name="connsiteX86" fmla="*/ 212251 w 547958"/>
              <a:gd name="connsiteY86" fmla="*/ 54788 h 547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547958" h="547879">
                <a:moveTo>
                  <a:pt x="116366" y="383573"/>
                </a:moveTo>
                <a:cubicBezTo>
                  <a:pt x="142842" y="383573"/>
                  <a:pt x="164306" y="405036"/>
                  <a:pt x="164306" y="431512"/>
                </a:cubicBezTo>
                <a:lnTo>
                  <a:pt x="164306" y="499940"/>
                </a:lnTo>
                <a:cubicBezTo>
                  <a:pt x="164306" y="526416"/>
                  <a:pt x="142842" y="547879"/>
                  <a:pt x="116366" y="547879"/>
                </a:cubicBezTo>
                <a:lnTo>
                  <a:pt x="47939" y="547879"/>
                </a:lnTo>
                <a:cubicBezTo>
                  <a:pt x="21463" y="547879"/>
                  <a:pt x="0" y="526416"/>
                  <a:pt x="0" y="499940"/>
                </a:cubicBezTo>
                <a:lnTo>
                  <a:pt x="0" y="431512"/>
                </a:lnTo>
                <a:cubicBezTo>
                  <a:pt x="0" y="405036"/>
                  <a:pt x="21463" y="383573"/>
                  <a:pt x="47939" y="383573"/>
                </a:cubicBezTo>
                <a:lnTo>
                  <a:pt x="116366" y="383573"/>
                </a:lnTo>
                <a:close/>
                <a:moveTo>
                  <a:pt x="116366" y="424664"/>
                </a:moveTo>
                <a:lnTo>
                  <a:pt x="47939" y="424664"/>
                </a:lnTo>
                <a:cubicBezTo>
                  <a:pt x="44157" y="424664"/>
                  <a:pt x="41091" y="427732"/>
                  <a:pt x="41091" y="431512"/>
                </a:cubicBezTo>
                <a:lnTo>
                  <a:pt x="41091" y="499940"/>
                </a:lnTo>
                <a:cubicBezTo>
                  <a:pt x="41091" y="503723"/>
                  <a:pt x="44157" y="506788"/>
                  <a:pt x="47939" y="506788"/>
                </a:cubicBezTo>
                <a:lnTo>
                  <a:pt x="116366" y="506788"/>
                </a:lnTo>
                <a:cubicBezTo>
                  <a:pt x="120149" y="506788"/>
                  <a:pt x="123215" y="503723"/>
                  <a:pt x="123215" y="499940"/>
                </a:cubicBezTo>
                <a:lnTo>
                  <a:pt x="123215" y="431512"/>
                </a:lnTo>
                <a:cubicBezTo>
                  <a:pt x="123215" y="427732"/>
                  <a:pt x="120149" y="424664"/>
                  <a:pt x="116366" y="424664"/>
                </a:cubicBezTo>
                <a:close/>
                <a:moveTo>
                  <a:pt x="212251" y="438303"/>
                </a:moveTo>
                <a:lnTo>
                  <a:pt x="527413" y="438303"/>
                </a:lnTo>
                <a:cubicBezTo>
                  <a:pt x="538760" y="438303"/>
                  <a:pt x="547959" y="447502"/>
                  <a:pt x="547959" y="458849"/>
                </a:cubicBezTo>
                <a:cubicBezTo>
                  <a:pt x="547959" y="469250"/>
                  <a:pt x="540228" y="477847"/>
                  <a:pt x="530202" y="479208"/>
                </a:cubicBezTo>
                <a:lnTo>
                  <a:pt x="527413" y="479394"/>
                </a:lnTo>
                <a:lnTo>
                  <a:pt x="212251" y="479394"/>
                </a:lnTo>
                <a:cubicBezTo>
                  <a:pt x="200904" y="479394"/>
                  <a:pt x="191705" y="470195"/>
                  <a:pt x="191705" y="458849"/>
                </a:cubicBezTo>
                <a:cubicBezTo>
                  <a:pt x="191705" y="448447"/>
                  <a:pt x="199435" y="439851"/>
                  <a:pt x="209463" y="438490"/>
                </a:cubicBezTo>
                <a:lnTo>
                  <a:pt x="212251" y="438303"/>
                </a:lnTo>
                <a:lnTo>
                  <a:pt x="527413" y="438303"/>
                </a:lnTo>
                <a:lnTo>
                  <a:pt x="212251" y="438303"/>
                </a:lnTo>
                <a:close/>
                <a:moveTo>
                  <a:pt x="116366" y="191787"/>
                </a:moveTo>
                <a:cubicBezTo>
                  <a:pt x="142842" y="191787"/>
                  <a:pt x="164306" y="213250"/>
                  <a:pt x="164306" y="239727"/>
                </a:cubicBezTo>
                <a:lnTo>
                  <a:pt x="164306" y="308152"/>
                </a:lnTo>
                <a:cubicBezTo>
                  <a:pt x="164306" y="334628"/>
                  <a:pt x="142842" y="356091"/>
                  <a:pt x="116366" y="356091"/>
                </a:cubicBezTo>
                <a:lnTo>
                  <a:pt x="47939" y="356091"/>
                </a:lnTo>
                <a:cubicBezTo>
                  <a:pt x="21463" y="356091"/>
                  <a:pt x="0" y="334628"/>
                  <a:pt x="0" y="308152"/>
                </a:cubicBezTo>
                <a:lnTo>
                  <a:pt x="0" y="239727"/>
                </a:lnTo>
                <a:cubicBezTo>
                  <a:pt x="0" y="213250"/>
                  <a:pt x="21463" y="191787"/>
                  <a:pt x="47939" y="191787"/>
                </a:cubicBezTo>
                <a:lnTo>
                  <a:pt x="116366" y="191787"/>
                </a:lnTo>
                <a:close/>
                <a:moveTo>
                  <a:pt x="116366" y="232879"/>
                </a:moveTo>
                <a:lnTo>
                  <a:pt x="47939" y="232879"/>
                </a:lnTo>
                <a:cubicBezTo>
                  <a:pt x="44157" y="232879"/>
                  <a:pt x="41091" y="235944"/>
                  <a:pt x="41091" y="239727"/>
                </a:cubicBezTo>
                <a:lnTo>
                  <a:pt x="41091" y="308152"/>
                </a:lnTo>
                <a:cubicBezTo>
                  <a:pt x="41091" y="311935"/>
                  <a:pt x="44157" y="315000"/>
                  <a:pt x="47939" y="315000"/>
                </a:cubicBezTo>
                <a:lnTo>
                  <a:pt x="116366" y="315000"/>
                </a:lnTo>
                <a:cubicBezTo>
                  <a:pt x="120149" y="315000"/>
                  <a:pt x="123215" y="311935"/>
                  <a:pt x="123215" y="308152"/>
                </a:cubicBezTo>
                <a:lnTo>
                  <a:pt x="123215" y="239727"/>
                </a:lnTo>
                <a:cubicBezTo>
                  <a:pt x="123215" y="235944"/>
                  <a:pt x="120149" y="232879"/>
                  <a:pt x="116366" y="232879"/>
                </a:cubicBezTo>
                <a:close/>
                <a:moveTo>
                  <a:pt x="212251" y="246546"/>
                </a:moveTo>
                <a:lnTo>
                  <a:pt x="527413" y="246546"/>
                </a:lnTo>
                <a:cubicBezTo>
                  <a:pt x="538760" y="246546"/>
                  <a:pt x="547959" y="255745"/>
                  <a:pt x="547959" y="267091"/>
                </a:cubicBezTo>
                <a:cubicBezTo>
                  <a:pt x="547959" y="277493"/>
                  <a:pt x="540228" y="286089"/>
                  <a:pt x="530202" y="287450"/>
                </a:cubicBezTo>
                <a:lnTo>
                  <a:pt x="527413" y="287637"/>
                </a:lnTo>
                <a:lnTo>
                  <a:pt x="212251" y="287637"/>
                </a:lnTo>
                <a:cubicBezTo>
                  <a:pt x="200904" y="287637"/>
                  <a:pt x="191705" y="278438"/>
                  <a:pt x="191705" y="267091"/>
                </a:cubicBezTo>
                <a:cubicBezTo>
                  <a:pt x="191705" y="256690"/>
                  <a:pt x="199435" y="248093"/>
                  <a:pt x="209463" y="246732"/>
                </a:cubicBezTo>
                <a:lnTo>
                  <a:pt x="212251" y="246546"/>
                </a:lnTo>
                <a:lnTo>
                  <a:pt x="527413" y="246546"/>
                </a:lnTo>
                <a:lnTo>
                  <a:pt x="212251" y="246546"/>
                </a:lnTo>
                <a:close/>
                <a:moveTo>
                  <a:pt x="116366" y="0"/>
                </a:moveTo>
                <a:cubicBezTo>
                  <a:pt x="142842" y="0"/>
                  <a:pt x="164306" y="21463"/>
                  <a:pt x="164306" y="47939"/>
                </a:cubicBezTo>
                <a:lnTo>
                  <a:pt x="164306" y="116366"/>
                </a:lnTo>
                <a:cubicBezTo>
                  <a:pt x="164306" y="142842"/>
                  <a:pt x="142842" y="164306"/>
                  <a:pt x="116366" y="164306"/>
                </a:cubicBezTo>
                <a:lnTo>
                  <a:pt x="47939" y="164306"/>
                </a:lnTo>
                <a:cubicBezTo>
                  <a:pt x="21463" y="164306"/>
                  <a:pt x="0" y="142842"/>
                  <a:pt x="0" y="116366"/>
                </a:cubicBezTo>
                <a:lnTo>
                  <a:pt x="0" y="47939"/>
                </a:lnTo>
                <a:cubicBezTo>
                  <a:pt x="0" y="21463"/>
                  <a:pt x="21463" y="0"/>
                  <a:pt x="47939" y="0"/>
                </a:cubicBezTo>
                <a:lnTo>
                  <a:pt x="116366" y="0"/>
                </a:lnTo>
                <a:close/>
                <a:moveTo>
                  <a:pt x="116366" y="41091"/>
                </a:moveTo>
                <a:lnTo>
                  <a:pt x="47939" y="41091"/>
                </a:lnTo>
                <a:cubicBezTo>
                  <a:pt x="44157" y="41091"/>
                  <a:pt x="41091" y="44157"/>
                  <a:pt x="41091" y="47939"/>
                </a:cubicBezTo>
                <a:lnTo>
                  <a:pt x="41091" y="116366"/>
                </a:lnTo>
                <a:cubicBezTo>
                  <a:pt x="41091" y="120149"/>
                  <a:pt x="44157" y="123215"/>
                  <a:pt x="47939" y="123215"/>
                </a:cubicBezTo>
                <a:lnTo>
                  <a:pt x="116366" y="123215"/>
                </a:lnTo>
                <a:cubicBezTo>
                  <a:pt x="120149" y="123215"/>
                  <a:pt x="123215" y="120149"/>
                  <a:pt x="123215" y="116366"/>
                </a:cubicBezTo>
                <a:lnTo>
                  <a:pt x="123215" y="47939"/>
                </a:lnTo>
                <a:cubicBezTo>
                  <a:pt x="123215" y="44157"/>
                  <a:pt x="120149" y="41091"/>
                  <a:pt x="116366" y="41091"/>
                </a:cubicBezTo>
                <a:close/>
                <a:moveTo>
                  <a:pt x="212251" y="54788"/>
                </a:moveTo>
                <a:lnTo>
                  <a:pt x="527413" y="54788"/>
                </a:lnTo>
                <a:cubicBezTo>
                  <a:pt x="538760" y="54788"/>
                  <a:pt x="547959" y="63987"/>
                  <a:pt x="547959" y="75333"/>
                </a:cubicBezTo>
                <a:cubicBezTo>
                  <a:pt x="547959" y="85735"/>
                  <a:pt x="540228" y="94331"/>
                  <a:pt x="530202" y="95691"/>
                </a:cubicBezTo>
                <a:lnTo>
                  <a:pt x="527413" y="95879"/>
                </a:lnTo>
                <a:lnTo>
                  <a:pt x="212251" y="95879"/>
                </a:lnTo>
                <a:cubicBezTo>
                  <a:pt x="200904" y="95879"/>
                  <a:pt x="191705" y="86680"/>
                  <a:pt x="191705" y="75333"/>
                </a:cubicBezTo>
                <a:cubicBezTo>
                  <a:pt x="191705" y="64932"/>
                  <a:pt x="199435" y="56336"/>
                  <a:pt x="209463" y="54976"/>
                </a:cubicBezTo>
                <a:lnTo>
                  <a:pt x="212251" y="54788"/>
                </a:lnTo>
                <a:lnTo>
                  <a:pt x="527413" y="54788"/>
                </a:lnTo>
                <a:lnTo>
                  <a:pt x="212251" y="54788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0" name="Graphic 16" descr="App Recent&#10;Keyword: fluent-icon;&#10;Metaphor: collection, ui;&#10;&#10;Used for content around app ui.">
            <a:extLst>
              <a:ext uri="{FF2B5EF4-FFF2-40B4-BE49-F238E27FC236}">
                <a16:creationId xmlns:a16="http://schemas.microsoft.com/office/drawing/2014/main" id="{95D7123B-B628-B3AD-BF31-C79DFBD3655A}"/>
              </a:ext>
            </a:extLst>
          </p:cNvPr>
          <p:cNvSpPr/>
          <p:nvPr/>
        </p:nvSpPr>
        <p:spPr>
          <a:xfrm>
            <a:off x="8158926" y="648344"/>
            <a:ext cx="547879" cy="547879"/>
          </a:xfrm>
          <a:custGeom>
            <a:avLst/>
            <a:gdLst>
              <a:gd name="connsiteX0" fmla="*/ 376667 w 547879"/>
              <a:gd name="connsiteY0" fmla="*/ 0 h 547879"/>
              <a:gd name="connsiteX1" fmla="*/ 438161 w 547879"/>
              <a:gd name="connsiteY1" fmla="*/ 57416 h 547879"/>
              <a:gd name="connsiteX2" fmla="*/ 438303 w 547879"/>
              <a:gd name="connsiteY2" fmla="*/ 61636 h 547879"/>
              <a:gd name="connsiteX3" fmla="*/ 438303 w 547879"/>
              <a:gd name="connsiteY3" fmla="*/ 82154 h 547879"/>
              <a:gd name="connsiteX4" fmla="*/ 486243 w 547879"/>
              <a:gd name="connsiteY4" fmla="*/ 82182 h 547879"/>
              <a:gd name="connsiteX5" fmla="*/ 547737 w 547879"/>
              <a:gd name="connsiteY5" fmla="*/ 139598 h 547879"/>
              <a:gd name="connsiteX6" fmla="*/ 547879 w 547879"/>
              <a:gd name="connsiteY6" fmla="*/ 143818 h 547879"/>
              <a:gd name="connsiteX7" fmla="*/ 547879 w 547879"/>
              <a:gd name="connsiteY7" fmla="*/ 404061 h 547879"/>
              <a:gd name="connsiteX8" fmla="*/ 490461 w 547879"/>
              <a:gd name="connsiteY8" fmla="*/ 465558 h 547879"/>
              <a:gd name="connsiteX9" fmla="*/ 486243 w 547879"/>
              <a:gd name="connsiteY9" fmla="*/ 465697 h 547879"/>
              <a:gd name="connsiteX10" fmla="*/ 438303 w 547879"/>
              <a:gd name="connsiteY10" fmla="*/ 465697 h 547879"/>
              <a:gd name="connsiteX11" fmla="*/ 438303 w 547879"/>
              <a:gd name="connsiteY11" fmla="*/ 486243 h 547879"/>
              <a:gd name="connsiteX12" fmla="*/ 380886 w 547879"/>
              <a:gd name="connsiteY12" fmla="*/ 547737 h 547879"/>
              <a:gd name="connsiteX13" fmla="*/ 376667 w 547879"/>
              <a:gd name="connsiteY13" fmla="*/ 547879 h 547879"/>
              <a:gd name="connsiteX14" fmla="*/ 171212 w 547879"/>
              <a:gd name="connsiteY14" fmla="*/ 547879 h 547879"/>
              <a:gd name="connsiteX15" fmla="*/ 109718 w 547879"/>
              <a:gd name="connsiteY15" fmla="*/ 490461 h 547879"/>
              <a:gd name="connsiteX16" fmla="*/ 109576 w 547879"/>
              <a:gd name="connsiteY16" fmla="*/ 486243 h 547879"/>
              <a:gd name="connsiteX17" fmla="*/ 109576 w 547879"/>
              <a:gd name="connsiteY17" fmla="*/ 465697 h 547879"/>
              <a:gd name="connsiteX18" fmla="*/ 61636 w 547879"/>
              <a:gd name="connsiteY18" fmla="*/ 465697 h 547879"/>
              <a:gd name="connsiteX19" fmla="*/ 142 w 547879"/>
              <a:gd name="connsiteY19" fmla="*/ 408282 h 547879"/>
              <a:gd name="connsiteX20" fmla="*/ 0 w 547879"/>
              <a:gd name="connsiteY20" fmla="*/ 404061 h 547879"/>
              <a:gd name="connsiteX21" fmla="*/ 0 w 547879"/>
              <a:gd name="connsiteY21" fmla="*/ 143818 h 547879"/>
              <a:gd name="connsiteX22" fmla="*/ 57416 w 547879"/>
              <a:gd name="connsiteY22" fmla="*/ 82324 h 547879"/>
              <a:gd name="connsiteX23" fmla="*/ 61636 w 547879"/>
              <a:gd name="connsiteY23" fmla="*/ 82182 h 547879"/>
              <a:gd name="connsiteX24" fmla="*/ 109576 w 547879"/>
              <a:gd name="connsiteY24" fmla="*/ 82154 h 547879"/>
              <a:gd name="connsiteX25" fmla="*/ 109576 w 547879"/>
              <a:gd name="connsiteY25" fmla="*/ 61636 h 547879"/>
              <a:gd name="connsiteX26" fmla="*/ 166992 w 547879"/>
              <a:gd name="connsiteY26" fmla="*/ 142 h 547879"/>
              <a:gd name="connsiteX27" fmla="*/ 171212 w 547879"/>
              <a:gd name="connsiteY27" fmla="*/ 0 h 547879"/>
              <a:gd name="connsiteX28" fmla="*/ 376667 w 547879"/>
              <a:gd name="connsiteY28" fmla="*/ 0 h 547879"/>
              <a:gd name="connsiteX29" fmla="*/ 376667 w 547879"/>
              <a:gd name="connsiteY29" fmla="*/ 41091 h 547879"/>
              <a:gd name="connsiteX30" fmla="*/ 171212 w 547879"/>
              <a:gd name="connsiteY30" fmla="*/ 41091 h 547879"/>
              <a:gd name="connsiteX31" fmla="*/ 150854 w 547879"/>
              <a:gd name="connsiteY31" fmla="*/ 58849 h 547879"/>
              <a:gd name="connsiteX32" fmla="*/ 150667 w 547879"/>
              <a:gd name="connsiteY32" fmla="*/ 61636 h 547879"/>
              <a:gd name="connsiteX33" fmla="*/ 150667 w 547879"/>
              <a:gd name="connsiteY33" fmla="*/ 486243 h 547879"/>
              <a:gd name="connsiteX34" fmla="*/ 168424 w 547879"/>
              <a:gd name="connsiteY34" fmla="*/ 506602 h 547879"/>
              <a:gd name="connsiteX35" fmla="*/ 171212 w 547879"/>
              <a:gd name="connsiteY35" fmla="*/ 506788 h 547879"/>
              <a:gd name="connsiteX36" fmla="*/ 376667 w 547879"/>
              <a:gd name="connsiteY36" fmla="*/ 506788 h 547879"/>
              <a:gd name="connsiteX37" fmla="*/ 397026 w 547879"/>
              <a:gd name="connsiteY37" fmla="*/ 489032 h 547879"/>
              <a:gd name="connsiteX38" fmla="*/ 397212 w 547879"/>
              <a:gd name="connsiteY38" fmla="*/ 486243 h 547879"/>
              <a:gd name="connsiteX39" fmla="*/ 397212 w 547879"/>
              <a:gd name="connsiteY39" fmla="*/ 61636 h 547879"/>
              <a:gd name="connsiteX40" fmla="*/ 379456 w 547879"/>
              <a:gd name="connsiteY40" fmla="*/ 41279 h 547879"/>
              <a:gd name="connsiteX41" fmla="*/ 376667 w 547879"/>
              <a:gd name="connsiteY41" fmla="*/ 41091 h 547879"/>
              <a:gd name="connsiteX42" fmla="*/ 109576 w 547879"/>
              <a:gd name="connsiteY42" fmla="*/ 123245 h 547879"/>
              <a:gd name="connsiteX43" fmla="*/ 61636 w 547879"/>
              <a:gd name="connsiteY43" fmla="*/ 123273 h 547879"/>
              <a:gd name="connsiteX44" fmla="*/ 41279 w 547879"/>
              <a:gd name="connsiteY44" fmla="*/ 141030 h 547879"/>
              <a:gd name="connsiteX45" fmla="*/ 41091 w 547879"/>
              <a:gd name="connsiteY45" fmla="*/ 143818 h 547879"/>
              <a:gd name="connsiteX46" fmla="*/ 41091 w 547879"/>
              <a:gd name="connsiteY46" fmla="*/ 404061 h 547879"/>
              <a:gd name="connsiteX47" fmla="*/ 58849 w 547879"/>
              <a:gd name="connsiteY47" fmla="*/ 424420 h 547879"/>
              <a:gd name="connsiteX48" fmla="*/ 61636 w 547879"/>
              <a:gd name="connsiteY48" fmla="*/ 424606 h 547879"/>
              <a:gd name="connsiteX49" fmla="*/ 109576 w 547879"/>
              <a:gd name="connsiteY49" fmla="*/ 424606 h 547879"/>
              <a:gd name="connsiteX50" fmla="*/ 109576 w 547879"/>
              <a:gd name="connsiteY50" fmla="*/ 123245 h 547879"/>
              <a:gd name="connsiteX51" fmla="*/ 486243 w 547879"/>
              <a:gd name="connsiteY51" fmla="*/ 123273 h 547879"/>
              <a:gd name="connsiteX52" fmla="*/ 438303 w 547879"/>
              <a:gd name="connsiteY52" fmla="*/ 123245 h 547879"/>
              <a:gd name="connsiteX53" fmla="*/ 438303 w 547879"/>
              <a:gd name="connsiteY53" fmla="*/ 424606 h 547879"/>
              <a:gd name="connsiteX54" fmla="*/ 486243 w 547879"/>
              <a:gd name="connsiteY54" fmla="*/ 424606 h 547879"/>
              <a:gd name="connsiteX55" fmla="*/ 506602 w 547879"/>
              <a:gd name="connsiteY55" fmla="*/ 406850 h 547879"/>
              <a:gd name="connsiteX56" fmla="*/ 506788 w 547879"/>
              <a:gd name="connsiteY56" fmla="*/ 404061 h 547879"/>
              <a:gd name="connsiteX57" fmla="*/ 506788 w 547879"/>
              <a:gd name="connsiteY57" fmla="*/ 143818 h 547879"/>
              <a:gd name="connsiteX58" fmla="*/ 486243 w 547879"/>
              <a:gd name="connsiteY58" fmla="*/ 123273 h 547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547879" h="547879">
                <a:moveTo>
                  <a:pt x="376667" y="0"/>
                </a:moveTo>
                <a:cubicBezTo>
                  <a:pt x="409290" y="0"/>
                  <a:pt x="435991" y="25344"/>
                  <a:pt x="438161" y="57416"/>
                </a:cubicBezTo>
                <a:lnTo>
                  <a:pt x="438303" y="61636"/>
                </a:lnTo>
                <a:lnTo>
                  <a:pt x="438303" y="82154"/>
                </a:lnTo>
                <a:lnTo>
                  <a:pt x="486243" y="82182"/>
                </a:lnTo>
                <a:cubicBezTo>
                  <a:pt x="518866" y="82182"/>
                  <a:pt x="545567" y="107526"/>
                  <a:pt x="547737" y="139598"/>
                </a:cubicBezTo>
                <a:lnTo>
                  <a:pt x="547879" y="143818"/>
                </a:lnTo>
                <a:lnTo>
                  <a:pt x="547879" y="404061"/>
                </a:lnTo>
                <a:cubicBezTo>
                  <a:pt x="547879" y="436684"/>
                  <a:pt x="522534" y="463388"/>
                  <a:pt x="490461" y="465558"/>
                </a:cubicBezTo>
                <a:lnTo>
                  <a:pt x="486243" y="465697"/>
                </a:lnTo>
                <a:lnTo>
                  <a:pt x="438303" y="465697"/>
                </a:lnTo>
                <a:lnTo>
                  <a:pt x="438303" y="486243"/>
                </a:lnTo>
                <a:cubicBezTo>
                  <a:pt x="438303" y="518866"/>
                  <a:pt x="412958" y="545567"/>
                  <a:pt x="380886" y="547737"/>
                </a:cubicBezTo>
                <a:lnTo>
                  <a:pt x="376667" y="547879"/>
                </a:lnTo>
                <a:lnTo>
                  <a:pt x="171212" y="547879"/>
                </a:lnTo>
                <a:cubicBezTo>
                  <a:pt x="138590" y="547879"/>
                  <a:pt x="111887" y="522534"/>
                  <a:pt x="109718" y="490461"/>
                </a:cubicBezTo>
                <a:lnTo>
                  <a:pt x="109576" y="486243"/>
                </a:lnTo>
                <a:lnTo>
                  <a:pt x="109576" y="465697"/>
                </a:lnTo>
                <a:lnTo>
                  <a:pt x="61636" y="465697"/>
                </a:lnTo>
                <a:cubicBezTo>
                  <a:pt x="29014" y="465697"/>
                  <a:pt x="2311" y="440355"/>
                  <a:pt x="142" y="408282"/>
                </a:cubicBezTo>
                <a:lnTo>
                  <a:pt x="0" y="404061"/>
                </a:lnTo>
                <a:lnTo>
                  <a:pt x="0" y="143818"/>
                </a:lnTo>
                <a:cubicBezTo>
                  <a:pt x="0" y="111196"/>
                  <a:pt x="25344" y="84493"/>
                  <a:pt x="57416" y="82324"/>
                </a:cubicBezTo>
                <a:lnTo>
                  <a:pt x="61636" y="82182"/>
                </a:lnTo>
                <a:lnTo>
                  <a:pt x="109576" y="82154"/>
                </a:lnTo>
                <a:lnTo>
                  <a:pt x="109576" y="61636"/>
                </a:lnTo>
                <a:cubicBezTo>
                  <a:pt x="109576" y="29014"/>
                  <a:pt x="134920" y="2311"/>
                  <a:pt x="166992" y="142"/>
                </a:cubicBezTo>
                <a:lnTo>
                  <a:pt x="171212" y="0"/>
                </a:lnTo>
                <a:lnTo>
                  <a:pt x="376667" y="0"/>
                </a:lnTo>
                <a:close/>
                <a:moveTo>
                  <a:pt x="376667" y="41091"/>
                </a:moveTo>
                <a:lnTo>
                  <a:pt x="171212" y="41091"/>
                </a:lnTo>
                <a:cubicBezTo>
                  <a:pt x="160811" y="41091"/>
                  <a:pt x="152215" y="48820"/>
                  <a:pt x="150854" y="58849"/>
                </a:cubicBezTo>
                <a:lnTo>
                  <a:pt x="150667" y="61636"/>
                </a:lnTo>
                <a:lnTo>
                  <a:pt x="150667" y="486243"/>
                </a:lnTo>
                <a:cubicBezTo>
                  <a:pt x="150667" y="496644"/>
                  <a:pt x="158396" y="505241"/>
                  <a:pt x="168424" y="506602"/>
                </a:cubicBezTo>
                <a:lnTo>
                  <a:pt x="171212" y="506788"/>
                </a:lnTo>
                <a:lnTo>
                  <a:pt x="376667" y="506788"/>
                </a:lnTo>
                <a:cubicBezTo>
                  <a:pt x="387068" y="506788"/>
                  <a:pt x="395665" y="499058"/>
                  <a:pt x="397026" y="489032"/>
                </a:cubicBezTo>
                <a:lnTo>
                  <a:pt x="397212" y="486243"/>
                </a:lnTo>
                <a:lnTo>
                  <a:pt x="397212" y="61636"/>
                </a:lnTo>
                <a:cubicBezTo>
                  <a:pt x="397212" y="51235"/>
                  <a:pt x="389482" y="42639"/>
                  <a:pt x="379456" y="41279"/>
                </a:cubicBezTo>
                <a:lnTo>
                  <a:pt x="376667" y="41091"/>
                </a:lnTo>
                <a:close/>
                <a:moveTo>
                  <a:pt x="109576" y="123245"/>
                </a:moveTo>
                <a:lnTo>
                  <a:pt x="61636" y="123273"/>
                </a:lnTo>
                <a:cubicBezTo>
                  <a:pt x="51235" y="123273"/>
                  <a:pt x="42639" y="131002"/>
                  <a:pt x="41279" y="141030"/>
                </a:cubicBezTo>
                <a:lnTo>
                  <a:pt x="41091" y="143818"/>
                </a:lnTo>
                <a:lnTo>
                  <a:pt x="41091" y="404061"/>
                </a:lnTo>
                <a:cubicBezTo>
                  <a:pt x="41091" y="414462"/>
                  <a:pt x="48820" y="423059"/>
                  <a:pt x="58849" y="424420"/>
                </a:cubicBezTo>
                <a:lnTo>
                  <a:pt x="61636" y="424606"/>
                </a:lnTo>
                <a:lnTo>
                  <a:pt x="109576" y="424606"/>
                </a:lnTo>
                <a:lnTo>
                  <a:pt x="109576" y="123245"/>
                </a:lnTo>
                <a:close/>
                <a:moveTo>
                  <a:pt x="486243" y="123273"/>
                </a:moveTo>
                <a:lnTo>
                  <a:pt x="438303" y="123245"/>
                </a:lnTo>
                <a:lnTo>
                  <a:pt x="438303" y="424606"/>
                </a:lnTo>
                <a:lnTo>
                  <a:pt x="486243" y="424606"/>
                </a:lnTo>
                <a:cubicBezTo>
                  <a:pt x="496644" y="424606"/>
                  <a:pt x="505241" y="416879"/>
                  <a:pt x="506602" y="406850"/>
                </a:cubicBezTo>
                <a:lnTo>
                  <a:pt x="506788" y="404061"/>
                </a:lnTo>
                <a:lnTo>
                  <a:pt x="506788" y="143818"/>
                </a:lnTo>
                <a:cubicBezTo>
                  <a:pt x="506788" y="132471"/>
                  <a:pt x="497589" y="123273"/>
                  <a:pt x="486243" y="123273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1" name="Graphic 38" descr="Calendar&#10;Keyword: fluent-icon, outlook, teams;&#10;Metaphor: time, date, planning;&#10;Direction&#10;&#10;Used in calendar scenarios. Contains direction variants.">
            <a:extLst>
              <a:ext uri="{FF2B5EF4-FFF2-40B4-BE49-F238E27FC236}">
                <a16:creationId xmlns:a16="http://schemas.microsoft.com/office/drawing/2014/main" id="{29C998D4-2CC7-23DC-3B30-A10AE1BEE5E6}"/>
              </a:ext>
            </a:extLst>
          </p:cNvPr>
          <p:cNvSpPr/>
          <p:nvPr/>
        </p:nvSpPr>
        <p:spPr>
          <a:xfrm>
            <a:off x="9114062" y="675738"/>
            <a:ext cx="493091" cy="493091"/>
          </a:xfrm>
          <a:custGeom>
            <a:avLst/>
            <a:gdLst>
              <a:gd name="connsiteX0" fmla="*/ 130121 w 493091"/>
              <a:gd name="connsiteY0" fmla="*/ 273940 h 493091"/>
              <a:gd name="connsiteX1" fmla="*/ 164364 w 493091"/>
              <a:gd name="connsiteY1" fmla="*/ 239697 h 493091"/>
              <a:gd name="connsiteX2" fmla="*/ 130121 w 493091"/>
              <a:gd name="connsiteY2" fmla="*/ 205455 h 493091"/>
              <a:gd name="connsiteX3" fmla="*/ 95879 w 493091"/>
              <a:gd name="connsiteY3" fmla="*/ 239697 h 493091"/>
              <a:gd name="connsiteX4" fmla="*/ 130121 w 493091"/>
              <a:gd name="connsiteY4" fmla="*/ 273940 h 493091"/>
              <a:gd name="connsiteX5" fmla="*/ 280788 w 493091"/>
              <a:gd name="connsiteY5" fmla="*/ 239697 h 493091"/>
              <a:gd name="connsiteX6" fmla="*/ 246546 w 493091"/>
              <a:gd name="connsiteY6" fmla="*/ 273940 h 493091"/>
              <a:gd name="connsiteX7" fmla="*/ 212303 w 493091"/>
              <a:gd name="connsiteY7" fmla="*/ 239697 h 493091"/>
              <a:gd name="connsiteX8" fmla="*/ 246546 w 493091"/>
              <a:gd name="connsiteY8" fmla="*/ 205455 h 493091"/>
              <a:gd name="connsiteX9" fmla="*/ 280788 w 493091"/>
              <a:gd name="connsiteY9" fmla="*/ 239697 h 493091"/>
              <a:gd name="connsiteX10" fmla="*/ 362970 w 493091"/>
              <a:gd name="connsiteY10" fmla="*/ 273940 h 493091"/>
              <a:gd name="connsiteX11" fmla="*/ 397212 w 493091"/>
              <a:gd name="connsiteY11" fmla="*/ 239697 h 493091"/>
              <a:gd name="connsiteX12" fmla="*/ 362970 w 493091"/>
              <a:gd name="connsiteY12" fmla="*/ 205455 h 493091"/>
              <a:gd name="connsiteX13" fmla="*/ 328728 w 493091"/>
              <a:gd name="connsiteY13" fmla="*/ 239697 h 493091"/>
              <a:gd name="connsiteX14" fmla="*/ 362970 w 493091"/>
              <a:gd name="connsiteY14" fmla="*/ 273940 h 493091"/>
              <a:gd name="connsiteX15" fmla="*/ 164364 w 493091"/>
              <a:gd name="connsiteY15" fmla="*/ 349273 h 493091"/>
              <a:gd name="connsiteX16" fmla="*/ 130121 w 493091"/>
              <a:gd name="connsiteY16" fmla="*/ 383515 h 493091"/>
              <a:gd name="connsiteX17" fmla="*/ 95879 w 493091"/>
              <a:gd name="connsiteY17" fmla="*/ 349273 h 493091"/>
              <a:gd name="connsiteX18" fmla="*/ 130121 w 493091"/>
              <a:gd name="connsiteY18" fmla="*/ 315031 h 493091"/>
              <a:gd name="connsiteX19" fmla="*/ 164364 w 493091"/>
              <a:gd name="connsiteY19" fmla="*/ 349273 h 493091"/>
              <a:gd name="connsiteX20" fmla="*/ 246546 w 493091"/>
              <a:gd name="connsiteY20" fmla="*/ 383515 h 493091"/>
              <a:gd name="connsiteX21" fmla="*/ 280788 w 493091"/>
              <a:gd name="connsiteY21" fmla="*/ 349273 h 493091"/>
              <a:gd name="connsiteX22" fmla="*/ 246546 w 493091"/>
              <a:gd name="connsiteY22" fmla="*/ 315031 h 493091"/>
              <a:gd name="connsiteX23" fmla="*/ 212303 w 493091"/>
              <a:gd name="connsiteY23" fmla="*/ 349273 h 493091"/>
              <a:gd name="connsiteX24" fmla="*/ 246546 w 493091"/>
              <a:gd name="connsiteY24" fmla="*/ 383515 h 493091"/>
              <a:gd name="connsiteX25" fmla="*/ 0 w 493091"/>
              <a:gd name="connsiteY25" fmla="*/ 85606 h 493091"/>
              <a:gd name="connsiteX26" fmla="*/ 85606 w 493091"/>
              <a:gd name="connsiteY26" fmla="*/ 0 h 493091"/>
              <a:gd name="connsiteX27" fmla="*/ 407485 w 493091"/>
              <a:gd name="connsiteY27" fmla="*/ 0 h 493091"/>
              <a:gd name="connsiteX28" fmla="*/ 493091 w 493091"/>
              <a:gd name="connsiteY28" fmla="*/ 85606 h 493091"/>
              <a:gd name="connsiteX29" fmla="*/ 493091 w 493091"/>
              <a:gd name="connsiteY29" fmla="*/ 407485 h 493091"/>
              <a:gd name="connsiteX30" fmla="*/ 407485 w 493091"/>
              <a:gd name="connsiteY30" fmla="*/ 493091 h 493091"/>
              <a:gd name="connsiteX31" fmla="*/ 85606 w 493091"/>
              <a:gd name="connsiteY31" fmla="*/ 493091 h 493091"/>
              <a:gd name="connsiteX32" fmla="*/ 0 w 493091"/>
              <a:gd name="connsiteY32" fmla="*/ 407485 h 493091"/>
              <a:gd name="connsiteX33" fmla="*/ 0 w 493091"/>
              <a:gd name="connsiteY33" fmla="*/ 85606 h 493091"/>
              <a:gd name="connsiteX34" fmla="*/ 85606 w 493091"/>
              <a:gd name="connsiteY34" fmla="*/ 34242 h 493091"/>
              <a:gd name="connsiteX35" fmla="*/ 34242 w 493091"/>
              <a:gd name="connsiteY35" fmla="*/ 85606 h 493091"/>
              <a:gd name="connsiteX36" fmla="*/ 34242 w 493091"/>
              <a:gd name="connsiteY36" fmla="*/ 109576 h 493091"/>
              <a:gd name="connsiteX37" fmla="*/ 458849 w 493091"/>
              <a:gd name="connsiteY37" fmla="*/ 109576 h 493091"/>
              <a:gd name="connsiteX38" fmla="*/ 458849 w 493091"/>
              <a:gd name="connsiteY38" fmla="*/ 85606 h 493091"/>
              <a:gd name="connsiteX39" fmla="*/ 407485 w 493091"/>
              <a:gd name="connsiteY39" fmla="*/ 34242 h 493091"/>
              <a:gd name="connsiteX40" fmla="*/ 85606 w 493091"/>
              <a:gd name="connsiteY40" fmla="*/ 34242 h 493091"/>
              <a:gd name="connsiteX41" fmla="*/ 34242 w 493091"/>
              <a:gd name="connsiteY41" fmla="*/ 407485 h 493091"/>
              <a:gd name="connsiteX42" fmla="*/ 85606 w 493091"/>
              <a:gd name="connsiteY42" fmla="*/ 458849 h 493091"/>
              <a:gd name="connsiteX43" fmla="*/ 407485 w 493091"/>
              <a:gd name="connsiteY43" fmla="*/ 458849 h 493091"/>
              <a:gd name="connsiteX44" fmla="*/ 458849 w 493091"/>
              <a:gd name="connsiteY44" fmla="*/ 407485 h 493091"/>
              <a:gd name="connsiteX45" fmla="*/ 458849 w 493091"/>
              <a:gd name="connsiteY45" fmla="*/ 143818 h 493091"/>
              <a:gd name="connsiteX46" fmla="*/ 34242 w 493091"/>
              <a:gd name="connsiteY46" fmla="*/ 143818 h 493091"/>
              <a:gd name="connsiteX47" fmla="*/ 34242 w 493091"/>
              <a:gd name="connsiteY47" fmla="*/ 407485 h 493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493091" h="493091">
                <a:moveTo>
                  <a:pt x="130121" y="273940"/>
                </a:moveTo>
                <a:cubicBezTo>
                  <a:pt x="149033" y="273940"/>
                  <a:pt x="164364" y="258609"/>
                  <a:pt x="164364" y="239697"/>
                </a:cubicBezTo>
                <a:cubicBezTo>
                  <a:pt x="164364" y="220786"/>
                  <a:pt x="149033" y="205455"/>
                  <a:pt x="130121" y="205455"/>
                </a:cubicBezTo>
                <a:cubicBezTo>
                  <a:pt x="111210" y="205455"/>
                  <a:pt x="95879" y="220786"/>
                  <a:pt x="95879" y="239697"/>
                </a:cubicBezTo>
                <a:cubicBezTo>
                  <a:pt x="95879" y="258609"/>
                  <a:pt x="111210" y="273940"/>
                  <a:pt x="130121" y="273940"/>
                </a:cubicBezTo>
                <a:close/>
                <a:moveTo>
                  <a:pt x="280788" y="239697"/>
                </a:moveTo>
                <a:cubicBezTo>
                  <a:pt x="280788" y="258609"/>
                  <a:pt x="265457" y="273940"/>
                  <a:pt x="246546" y="273940"/>
                </a:cubicBezTo>
                <a:cubicBezTo>
                  <a:pt x="227634" y="273940"/>
                  <a:pt x="212303" y="258609"/>
                  <a:pt x="212303" y="239697"/>
                </a:cubicBezTo>
                <a:cubicBezTo>
                  <a:pt x="212303" y="220786"/>
                  <a:pt x="227634" y="205455"/>
                  <a:pt x="246546" y="205455"/>
                </a:cubicBezTo>
                <a:cubicBezTo>
                  <a:pt x="265457" y="205455"/>
                  <a:pt x="280788" y="220786"/>
                  <a:pt x="280788" y="239697"/>
                </a:cubicBezTo>
                <a:close/>
                <a:moveTo>
                  <a:pt x="362970" y="273940"/>
                </a:moveTo>
                <a:cubicBezTo>
                  <a:pt x="381881" y="273940"/>
                  <a:pt x="397212" y="258609"/>
                  <a:pt x="397212" y="239697"/>
                </a:cubicBezTo>
                <a:cubicBezTo>
                  <a:pt x="397212" y="220786"/>
                  <a:pt x="381881" y="205455"/>
                  <a:pt x="362970" y="205455"/>
                </a:cubicBezTo>
                <a:cubicBezTo>
                  <a:pt x="344059" y="205455"/>
                  <a:pt x="328728" y="220786"/>
                  <a:pt x="328728" y="239697"/>
                </a:cubicBezTo>
                <a:cubicBezTo>
                  <a:pt x="328728" y="258609"/>
                  <a:pt x="344059" y="273940"/>
                  <a:pt x="362970" y="273940"/>
                </a:cubicBezTo>
                <a:close/>
                <a:moveTo>
                  <a:pt x="164364" y="349273"/>
                </a:moveTo>
                <a:cubicBezTo>
                  <a:pt x="164364" y="368184"/>
                  <a:pt x="149033" y="383515"/>
                  <a:pt x="130121" y="383515"/>
                </a:cubicBezTo>
                <a:cubicBezTo>
                  <a:pt x="111210" y="383515"/>
                  <a:pt x="95879" y="368184"/>
                  <a:pt x="95879" y="349273"/>
                </a:cubicBezTo>
                <a:cubicBezTo>
                  <a:pt x="95879" y="330362"/>
                  <a:pt x="111210" y="315031"/>
                  <a:pt x="130121" y="315031"/>
                </a:cubicBezTo>
                <a:cubicBezTo>
                  <a:pt x="149033" y="315031"/>
                  <a:pt x="164364" y="330362"/>
                  <a:pt x="164364" y="349273"/>
                </a:cubicBezTo>
                <a:close/>
                <a:moveTo>
                  <a:pt x="246546" y="383515"/>
                </a:moveTo>
                <a:cubicBezTo>
                  <a:pt x="265457" y="383515"/>
                  <a:pt x="280788" y="368184"/>
                  <a:pt x="280788" y="349273"/>
                </a:cubicBezTo>
                <a:cubicBezTo>
                  <a:pt x="280788" y="330362"/>
                  <a:pt x="265457" y="315031"/>
                  <a:pt x="246546" y="315031"/>
                </a:cubicBezTo>
                <a:cubicBezTo>
                  <a:pt x="227634" y="315031"/>
                  <a:pt x="212303" y="330362"/>
                  <a:pt x="212303" y="349273"/>
                </a:cubicBezTo>
                <a:cubicBezTo>
                  <a:pt x="212303" y="368184"/>
                  <a:pt x="227634" y="383515"/>
                  <a:pt x="246546" y="383515"/>
                </a:cubicBezTo>
                <a:close/>
                <a:moveTo>
                  <a:pt x="0" y="85606"/>
                </a:moveTo>
                <a:cubicBezTo>
                  <a:pt x="0" y="38327"/>
                  <a:pt x="38327" y="0"/>
                  <a:pt x="85606" y="0"/>
                </a:cubicBezTo>
                <a:lnTo>
                  <a:pt x="407485" y="0"/>
                </a:lnTo>
                <a:cubicBezTo>
                  <a:pt x="454764" y="0"/>
                  <a:pt x="493091" y="38327"/>
                  <a:pt x="493091" y="85606"/>
                </a:cubicBezTo>
                <a:lnTo>
                  <a:pt x="493091" y="407485"/>
                </a:lnTo>
                <a:cubicBezTo>
                  <a:pt x="493091" y="454764"/>
                  <a:pt x="454764" y="493091"/>
                  <a:pt x="407485" y="493091"/>
                </a:cubicBezTo>
                <a:lnTo>
                  <a:pt x="85606" y="493091"/>
                </a:lnTo>
                <a:cubicBezTo>
                  <a:pt x="38327" y="493091"/>
                  <a:pt x="0" y="454764"/>
                  <a:pt x="0" y="407485"/>
                </a:cubicBezTo>
                <a:lnTo>
                  <a:pt x="0" y="85606"/>
                </a:lnTo>
                <a:close/>
                <a:moveTo>
                  <a:pt x="85606" y="34242"/>
                </a:moveTo>
                <a:cubicBezTo>
                  <a:pt x="57238" y="34242"/>
                  <a:pt x="34242" y="57238"/>
                  <a:pt x="34242" y="85606"/>
                </a:cubicBezTo>
                <a:lnTo>
                  <a:pt x="34242" y="109576"/>
                </a:lnTo>
                <a:lnTo>
                  <a:pt x="458849" y="109576"/>
                </a:lnTo>
                <a:lnTo>
                  <a:pt x="458849" y="85606"/>
                </a:lnTo>
                <a:cubicBezTo>
                  <a:pt x="458849" y="57238"/>
                  <a:pt x="435853" y="34242"/>
                  <a:pt x="407485" y="34242"/>
                </a:cubicBezTo>
                <a:lnTo>
                  <a:pt x="85606" y="34242"/>
                </a:lnTo>
                <a:close/>
                <a:moveTo>
                  <a:pt x="34242" y="407485"/>
                </a:moveTo>
                <a:cubicBezTo>
                  <a:pt x="34242" y="435853"/>
                  <a:pt x="57238" y="458849"/>
                  <a:pt x="85606" y="458849"/>
                </a:cubicBezTo>
                <a:lnTo>
                  <a:pt x="407485" y="458849"/>
                </a:lnTo>
                <a:cubicBezTo>
                  <a:pt x="435853" y="458849"/>
                  <a:pt x="458849" y="435853"/>
                  <a:pt x="458849" y="407485"/>
                </a:cubicBezTo>
                <a:lnTo>
                  <a:pt x="458849" y="143818"/>
                </a:lnTo>
                <a:lnTo>
                  <a:pt x="34242" y="143818"/>
                </a:lnTo>
                <a:lnTo>
                  <a:pt x="34242" y="407485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1369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2" name="Graphic 42" descr="Accessibility Passed State&#10;Keyword: fluent-icon;&#10;Metaphor: person, inclusive, plus;&#10;Action: additive;&#10;&#10;Used for accessibility checker pass state.">
            <a:extLst>
              <a:ext uri="{FF2B5EF4-FFF2-40B4-BE49-F238E27FC236}">
                <a16:creationId xmlns:a16="http://schemas.microsoft.com/office/drawing/2014/main" id="{E0A8C4EC-BE70-364C-79EC-74328F8643CD}"/>
              </a:ext>
            </a:extLst>
          </p:cNvPr>
          <p:cNvSpPr/>
          <p:nvPr/>
        </p:nvSpPr>
        <p:spPr>
          <a:xfrm>
            <a:off x="10007868" y="637387"/>
            <a:ext cx="569710" cy="569794"/>
          </a:xfrm>
          <a:custGeom>
            <a:avLst/>
            <a:gdLst>
              <a:gd name="connsiteX0" fmla="*/ 171609 w 569710"/>
              <a:gd name="connsiteY0" fmla="*/ 92219 h 569794"/>
              <a:gd name="connsiteX1" fmla="*/ 170860 w 569710"/>
              <a:gd name="connsiteY1" fmla="*/ 81399 h 569794"/>
              <a:gd name="connsiteX2" fmla="*/ 256330 w 569710"/>
              <a:gd name="connsiteY2" fmla="*/ 0 h 569794"/>
              <a:gd name="connsiteX3" fmla="*/ 341799 w 569710"/>
              <a:gd name="connsiteY3" fmla="*/ 81399 h 569794"/>
              <a:gd name="connsiteX4" fmla="*/ 341049 w 569710"/>
              <a:gd name="connsiteY4" fmla="*/ 92221 h 569794"/>
              <a:gd name="connsiteX5" fmla="*/ 423000 w 569710"/>
              <a:gd name="connsiteY5" fmla="*/ 59091 h 569794"/>
              <a:gd name="connsiteX6" fmla="*/ 507369 w 569710"/>
              <a:gd name="connsiteY6" fmla="*/ 91215 h 569794"/>
              <a:gd name="connsiteX7" fmla="*/ 473723 w 569710"/>
              <a:gd name="connsiteY7" fmla="*/ 171372 h 569794"/>
              <a:gd name="connsiteX8" fmla="*/ 370360 w 569710"/>
              <a:gd name="connsiteY8" fmla="*/ 213158 h 569794"/>
              <a:gd name="connsiteX9" fmla="*/ 370360 w 569710"/>
              <a:gd name="connsiteY9" fmla="*/ 248899 h 569794"/>
              <a:gd name="connsiteX10" fmla="*/ 327625 w 569710"/>
              <a:gd name="connsiteY10" fmla="*/ 264026 h 569794"/>
              <a:gd name="connsiteX11" fmla="*/ 327625 w 569710"/>
              <a:gd name="connsiteY11" fmla="*/ 208668 h 569794"/>
              <a:gd name="connsiteX12" fmla="*/ 349323 w 569710"/>
              <a:gd name="connsiteY12" fmla="*/ 177448 h 569794"/>
              <a:gd name="connsiteX13" fmla="*/ 457025 w 569710"/>
              <a:gd name="connsiteY13" fmla="*/ 133908 h 569794"/>
              <a:gd name="connsiteX14" fmla="*/ 468156 w 569710"/>
              <a:gd name="connsiteY14" fmla="*/ 107391 h 569794"/>
              <a:gd name="connsiteX15" fmla="*/ 439698 w 569710"/>
              <a:gd name="connsiteY15" fmla="*/ 96555 h 569794"/>
              <a:gd name="connsiteX16" fmla="*/ 298075 w 569710"/>
              <a:gd name="connsiteY16" fmla="*/ 153808 h 569794"/>
              <a:gd name="connsiteX17" fmla="*/ 284175 w 569710"/>
              <a:gd name="connsiteY17" fmla="*/ 158380 h 569794"/>
              <a:gd name="connsiteX18" fmla="*/ 256330 w 569710"/>
              <a:gd name="connsiteY18" fmla="*/ 162798 h 569794"/>
              <a:gd name="connsiteX19" fmla="*/ 228468 w 569710"/>
              <a:gd name="connsiteY19" fmla="*/ 158375 h 569794"/>
              <a:gd name="connsiteX20" fmla="*/ 214587 w 569710"/>
              <a:gd name="connsiteY20" fmla="*/ 153808 h 569794"/>
              <a:gd name="connsiteX21" fmla="*/ 72966 w 569710"/>
              <a:gd name="connsiteY21" fmla="*/ 96555 h 569794"/>
              <a:gd name="connsiteX22" fmla="*/ 44507 w 569710"/>
              <a:gd name="connsiteY22" fmla="*/ 107391 h 569794"/>
              <a:gd name="connsiteX23" fmla="*/ 55638 w 569710"/>
              <a:gd name="connsiteY23" fmla="*/ 133908 h 569794"/>
              <a:gd name="connsiteX24" fmla="*/ 163480 w 569710"/>
              <a:gd name="connsiteY24" fmla="*/ 177504 h 569794"/>
              <a:gd name="connsiteX25" fmla="*/ 185177 w 569710"/>
              <a:gd name="connsiteY25" fmla="*/ 208724 h 569794"/>
              <a:gd name="connsiteX26" fmla="*/ 185177 w 569710"/>
              <a:gd name="connsiteY26" fmla="*/ 314781 h 569794"/>
              <a:gd name="connsiteX27" fmla="*/ 183237 w 569710"/>
              <a:gd name="connsiteY27" fmla="*/ 325822 h 569794"/>
              <a:gd name="connsiteX28" fmla="*/ 129317 w 569710"/>
              <a:gd name="connsiteY28" fmla="*/ 474959 h 569794"/>
              <a:gd name="connsiteX29" fmla="*/ 142564 w 569710"/>
              <a:gd name="connsiteY29" fmla="*/ 500825 h 569794"/>
              <a:gd name="connsiteX30" fmla="*/ 169723 w 569710"/>
              <a:gd name="connsiteY30" fmla="*/ 488210 h 569794"/>
              <a:gd name="connsiteX31" fmla="*/ 229789 w 569710"/>
              <a:gd name="connsiteY31" fmla="*/ 322075 h 569794"/>
              <a:gd name="connsiteX32" fmla="*/ 270712 w 569710"/>
              <a:gd name="connsiteY32" fmla="*/ 307700 h 569794"/>
              <a:gd name="connsiteX33" fmla="*/ 227834 w 569710"/>
              <a:gd name="connsiteY33" fmla="*/ 420562 h 569794"/>
              <a:gd name="connsiteX34" fmla="*/ 229876 w 569710"/>
              <a:gd name="connsiteY34" fmla="*/ 446843 h 569794"/>
              <a:gd name="connsiteX35" fmla="*/ 210130 w 569710"/>
              <a:gd name="connsiteY35" fmla="*/ 501459 h 569794"/>
              <a:gd name="connsiteX36" fmla="*/ 128651 w 569710"/>
              <a:gd name="connsiteY36" fmla="*/ 539307 h 569794"/>
              <a:gd name="connsiteX37" fmla="*/ 88911 w 569710"/>
              <a:gd name="connsiteY37" fmla="*/ 461710 h 569794"/>
              <a:gd name="connsiteX38" fmla="*/ 142442 w 569710"/>
              <a:gd name="connsiteY38" fmla="*/ 313644 h 569794"/>
              <a:gd name="connsiteX39" fmla="*/ 142442 w 569710"/>
              <a:gd name="connsiteY39" fmla="*/ 213214 h 569794"/>
              <a:gd name="connsiteX40" fmla="*/ 38940 w 569710"/>
              <a:gd name="connsiteY40" fmla="*/ 171372 h 569794"/>
              <a:gd name="connsiteX41" fmla="*/ 5293 w 569710"/>
              <a:gd name="connsiteY41" fmla="*/ 91215 h 569794"/>
              <a:gd name="connsiteX42" fmla="*/ 89663 w 569710"/>
              <a:gd name="connsiteY42" fmla="*/ 59091 h 569794"/>
              <a:gd name="connsiteX43" fmla="*/ 171609 w 569710"/>
              <a:gd name="connsiteY43" fmla="*/ 92219 h 569794"/>
              <a:gd name="connsiteX44" fmla="*/ 213595 w 569710"/>
              <a:gd name="connsiteY44" fmla="*/ 81399 h 569794"/>
              <a:gd name="connsiteX45" fmla="*/ 241179 w 569710"/>
              <a:gd name="connsiteY45" fmla="*/ 119467 h 569794"/>
              <a:gd name="connsiteX46" fmla="*/ 271472 w 569710"/>
              <a:gd name="connsiteY46" fmla="*/ 119470 h 569794"/>
              <a:gd name="connsiteX47" fmla="*/ 299064 w 569710"/>
              <a:gd name="connsiteY47" fmla="*/ 81399 h 569794"/>
              <a:gd name="connsiteX48" fmla="*/ 256330 w 569710"/>
              <a:gd name="connsiteY48" fmla="*/ 40700 h 569794"/>
              <a:gd name="connsiteX49" fmla="*/ 213595 w 569710"/>
              <a:gd name="connsiteY49" fmla="*/ 81399 h 569794"/>
              <a:gd name="connsiteX50" fmla="*/ 569711 w 569710"/>
              <a:gd name="connsiteY50" fmla="*/ 420562 h 569794"/>
              <a:gd name="connsiteX51" fmla="*/ 413017 w 569710"/>
              <a:gd name="connsiteY51" fmla="*/ 569794 h 569794"/>
              <a:gd name="connsiteX52" fmla="*/ 256324 w 569710"/>
              <a:gd name="connsiteY52" fmla="*/ 420562 h 569794"/>
              <a:gd name="connsiteX53" fmla="*/ 413017 w 569710"/>
              <a:gd name="connsiteY53" fmla="*/ 271330 h 569794"/>
              <a:gd name="connsiteX54" fmla="*/ 569711 w 569710"/>
              <a:gd name="connsiteY54" fmla="*/ 420562 h 569794"/>
              <a:gd name="connsiteX55" fmla="*/ 508560 w 569710"/>
              <a:gd name="connsiteY55" fmla="*/ 356702 h 569794"/>
              <a:gd name="connsiteX56" fmla="*/ 488412 w 569710"/>
              <a:gd name="connsiteY56" fmla="*/ 356702 h 569794"/>
              <a:gd name="connsiteX57" fmla="*/ 384527 w 569710"/>
              <a:gd name="connsiteY57" fmla="*/ 455643 h 569794"/>
              <a:gd name="connsiteX58" fmla="*/ 337622 w 569710"/>
              <a:gd name="connsiteY58" fmla="*/ 410968 h 569794"/>
              <a:gd name="connsiteX59" fmla="*/ 317474 w 569710"/>
              <a:gd name="connsiteY59" fmla="*/ 410968 h 569794"/>
              <a:gd name="connsiteX60" fmla="*/ 317474 w 569710"/>
              <a:gd name="connsiteY60" fmla="*/ 430156 h 569794"/>
              <a:gd name="connsiteX61" fmla="*/ 374454 w 569710"/>
              <a:gd name="connsiteY61" fmla="*/ 484423 h 569794"/>
              <a:gd name="connsiteX62" fmla="*/ 394601 w 569710"/>
              <a:gd name="connsiteY62" fmla="*/ 484423 h 569794"/>
              <a:gd name="connsiteX63" fmla="*/ 508560 w 569710"/>
              <a:gd name="connsiteY63" fmla="*/ 375890 h 569794"/>
              <a:gd name="connsiteX64" fmla="*/ 508560 w 569710"/>
              <a:gd name="connsiteY64" fmla="*/ 356702 h 569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569710" h="569794">
                <a:moveTo>
                  <a:pt x="171609" y="92219"/>
                </a:moveTo>
                <a:cubicBezTo>
                  <a:pt x="171115" y="88679"/>
                  <a:pt x="170860" y="85068"/>
                  <a:pt x="170860" y="81399"/>
                </a:cubicBezTo>
                <a:cubicBezTo>
                  <a:pt x="170860" y="36444"/>
                  <a:pt x="209126" y="0"/>
                  <a:pt x="256330" y="0"/>
                </a:cubicBezTo>
                <a:cubicBezTo>
                  <a:pt x="303534" y="0"/>
                  <a:pt x="341799" y="36444"/>
                  <a:pt x="341799" y="81399"/>
                </a:cubicBezTo>
                <a:cubicBezTo>
                  <a:pt x="341799" y="85068"/>
                  <a:pt x="341545" y="88680"/>
                  <a:pt x="341049" y="92221"/>
                </a:cubicBezTo>
                <a:lnTo>
                  <a:pt x="423000" y="59091"/>
                </a:lnTo>
                <a:cubicBezTo>
                  <a:pt x="455567" y="45925"/>
                  <a:pt x="493310" y="60295"/>
                  <a:pt x="507369" y="91215"/>
                </a:cubicBezTo>
                <a:cubicBezTo>
                  <a:pt x="521480" y="122241"/>
                  <a:pt x="506404" y="158161"/>
                  <a:pt x="473723" y="171372"/>
                </a:cubicBezTo>
                <a:lnTo>
                  <a:pt x="370360" y="213158"/>
                </a:lnTo>
                <a:lnTo>
                  <a:pt x="370360" y="248899"/>
                </a:lnTo>
                <a:cubicBezTo>
                  <a:pt x="355326" y="252275"/>
                  <a:pt x="340998" y="257397"/>
                  <a:pt x="327625" y="264026"/>
                </a:cubicBezTo>
                <a:lnTo>
                  <a:pt x="327625" y="208668"/>
                </a:lnTo>
                <a:cubicBezTo>
                  <a:pt x="327625" y="195058"/>
                  <a:pt x="336169" y="182766"/>
                  <a:pt x="349323" y="177448"/>
                </a:cubicBezTo>
                <a:lnTo>
                  <a:pt x="457025" y="133908"/>
                </a:lnTo>
                <a:cubicBezTo>
                  <a:pt x="467868" y="129525"/>
                  <a:pt x="472837" y="117685"/>
                  <a:pt x="468156" y="107391"/>
                </a:cubicBezTo>
                <a:cubicBezTo>
                  <a:pt x="463427" y="96991"/>
                  <a:pt x="450652" y="92127"/>
                  <a:pt x="439698" y="96555"/>
                </a:cubicBezTo>
                <a:lnTo>
                  <a:pt x="298075" y="153808"/>
                </a:lnTo>
                <a:cubicBezTo>
                  <a:pt x="293531" y="155645"/>
                  <a:pt x="288888" y="157169"/>
                  <a:pt x="284175" y="158380"/>
                </a:cubicBezTo>
                <a:cubicBezTo>
                  <a:pt x="275447" y="161244"/>
                  <a:pt x="266079" y="162798"/>
                  <a:pt x="256330" y="162798"/>
                </a:cubicBezTo>
                <a:cubicBezTo>
                  <a:pt x="246574" y="162798"/>
                  <a:pt x="237201" y="161242"/>
                  <a:pt x="228468" y="158375"/>
                </a:cubicBezTo>
                <a:cubicBezTo>
                  <a:pt x="223764" y="157165"/>
                  <a:pt x="219126" y="155642"/>
                  <a:pt x="214587" y="153808"/>
                </a:cubicBezTo>
                <a:lnTo>
                  <a:pt x="72966" y="96555"/>
                </a:lnTo>
                <a:cubicBezTo>
                  <a:pt x="62011" y="92127"/>
                  <a:pt x="49237" y="96991"/>
                  <a:pt x="44507" y="107391"/>
                </a:cubicBezTo>
                <a:cubicBezTo>
                  <a:pt x="39825" y="117685"/>
                  <a:pt x="44796" y="129525"/>
                  <a:pt x="55638" y="133908"/>
                </a:cubicBezTo>
                <a:lnTo>
                  <a:pt x="163480" y="177504"/>
                </a:lnTo>
                <a:cubicBezTo>
                  <a:pt x="176634" y="182822"/>
                  <a:pt x="185177" y="195114"/>
                  <a:pt x="185177" y="208724"/>
                </a:cubicBezTo>
                <a:lnTo>
                  <a:pt x="185177" y="314781"/>
                </a:lnTo>
                <a:cubicBezTo>
                  <a:pt x="185177" y="318539"/>
                  <a:pt x="184521" y="322270"/>
                  <a:pt x="183237" y="325822"/>
                </a:cubicBezTo>
                <a:lnTo>
                  <a:pt x="129317" y="474959"/>
                </a:lnTo>
                <a:cubicBezTo>
                  <a:pt x="125475" y="485587"/>
                  <a:pt x="131406" y="497167"/>
                  <a:pt x="142564" y="500825"/>
                </a:cubicBezTo>
                <a:cubicBezTo>
                  <a:pt x="153722" y="504485"/>
                  <a:pt x="165881" y="498836"/>
                  <a:pt x="169723" y="488210"/>
                </a:cubicBezTo>
                <a:lnTo>
                  <a:pt x="229789" y="322075"/>
                </a:lnTo>
                <a:cubicBezTo>
                  <a:pt x="236099" y="304606"/>
                  <a:pt x="256606" y="299850"/>
                  <a:pt x="270712" y="307700"/>
                </a:cubicBezTo>
                <a:cubicBezTo>
                  <a:pt x="243941" y="338284"/>
                  <a:pt x="227834" y="377632"/>
                  <a:pt x="227834" y="420562"/>
                </a:cubicBezTo>
                <a:cubicBezTo>
                  <a:pt x="227834" y="429494"/>
                  <a:pt x="228531" y="438269"/>
                  <a:pt x="229876" y="446843"/>
                </a:cubicBezTo>
                <a:lnTo>
                  <a:pt x="210130" y="501459"/>
                </a:lnTo>
                <a:cubicBezTo>
                  <a:pt x="198604" y="533341"/>
                  <a:pt x="162124" y="550285"/>
                  <a:pt x="128651" y="539307"/>
                </a:cubicBezTo>
                <a:cubicBezTo>
                  <a:pt x="95177" y="528332"/>
                  <a:pt x="77385" y="493588"/>
                  <a:pt x="88911" y="461710"/>
                </a:cubicBezTo>
                <a:lnTo>
                  <a:pt x="142442" y="313644"/>
                </a:lnTo>
                <a:lnTo>
                  <a:pt x="142442" y="213214"/>
                </a:lnTo>
                <a:lnTo>
                  <a:pt x="38940" y="171372"/>
                </a:lnTo>
                <a:cubicBezTo>
                  <a:pt x="6260" y="158161"/>
                  <a:pt x="-8818" y="122241"/>
                  <a:pt x="5293" y="91215"/>
                </a:cubicBezTo>
                <a:cubicBezTo>
                  <a:pt x="19355" y="60295"/>
                  <a:pt x="57096" y="45925"/>
                  <a:pt x="89663" y="59091"/>
                </a:cubicBezTo>
                <a:lnTo>
                  <a:pt x="171609" y="92219"/>
                </a:lnTo>
                <a:close/>
                <a:moveTo>
                  <a:pt x="213595" y="81399"/>
                </a:moveTo>
                <a:cubicBezTo>
                  <a:pt x="213595" y="98796"/>
                  <a:pt x="225056" y="113644"/>
                  <a:pt x="241179" y="119467"/>
                </a:cubicBezTo>
                <a:cubicBezTo>
                  <a:pt x="251130" y="121772"/>
                  <a:pt x="261521" y="121773"/>
                  <a:pt x="271472" y="119470"/>
                </a:cubicBezTo>
                <a:cubicBezTo>
                  <a:pt x="287600" y="113648"/>
                  <a:pt x="299064" y="98799"/>
                  <a:pt x="299064" y="81399"/>
                </a:cubicBezTo>
                <a:cubicBezTo>
                  <a:pt x="299064" y="58921"/>
                  <a:pt x="279931" y="40700"/>
                  <a:pt x="256330" y="40700"/>
                </a:cubicBezTo>
                <a:cubicBezTo>
                  <a:pt x="232728" y="40700"/>
                  <a:pt x="213595" y="58921"/>
                  <a:pt x="213595" y="81399"/>
                </a:cubicBezTo>
                <a:close/>
                <a:moveTo>
                  <a:pt x="569711" y="420562"/>
                </a:moveTo>
                <a:cubicBezTo>
                  <a:pt x="569711" y="502982"/>
                  <a:pt x="499557" y="569794"/>
                  <a:pt x="413017" y="569794"/>
                </a:cubicBezTo>
                <a:cubicBezTo>
                  <a:pt x="326477" y="569794"/>
                  <a:pt x="256324" y="502982"/>
                  <a:pt x="256324" y="420562"/>
                </a:cubicBezTo>
                <a:cubicBezTo>
                  <a:pt x="256324" y="338143"/>
                  <a:pt x="326477" y="271330"/>
                  <a:pt x="413017" y="271330"/>
                </a:cubicBezTo>
                <a:cubicBezTo>
                  <a:pt x="499557" y="271330"/>
                  <a:pt x="569711" y="338143"/>
                  <a:pt x="569711" y="420562"/>
                </a:cubicBezTo>
                <a:close/>
                <a:moveTo>
                  <a:pt x="508560" y="356702"/>
                </a:moveTo>
                <a:cubicBezTo>
                  <a:pt x="502996" y="351406"/>
                  <a:pt x="493976" y="351406"/>
                  <a:pt x="488412" y="356702"/>
                </a:cubicBezTo>
                <a:lnTo>
                  <a:pt x="384527" y="455643"/>
                </a:lnTo>
                <a:lnTo>
                  <a:pt x="337622" y="410968"/>
                </a:lnTo>
                <a:cubicBezTo>
                  <a:pt x="332058" y="405672"/>
                  <a:pt x="323038" y="405672"/>
                  <a:pt x="317474" y="410968"/>
                </a:cubicBezTo>
                <a:cubicBezTo>
                  <a:pt x="311913" y="416267"/>
                  <a:pt x="311913" y="424857"/>
                  <a:pt x="317474" y="430156"/>
                </a:cubicBezTo>
                <a:lnTo>
                  <a:pt x="374454" y="484423"/>
                </a:lnTo>
                <a:cubicBezTo>
                  <a:pt x="380018" y="489719"/>
                  <a:pt x="389037" y="489719"/>
                  <a:pt x="394601" y="484423"/>
                </a:cubicBezTo>
                <a:lnTo>
                  <a:pt x="508560" y="375890"/>
                </a:lnTo>
                <a:cubicBezTo>
                  <a:pt x="514121" y="370591"/>
                  <a:pt x="514121" y="362001"/>
                  <a:pt x="508560" y="356702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2809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3" name="Graphic 52" descr="Bézier Curve Square&#10;Keyword: fluent-icon;&#10;Metaphor: ease, square, data;&#10;&#10;Used to jump into curve editor.">
            <a:extLst>
              <a:ext uri="{FF2B5EF4-FFF2-40B4-BE49-F238E27FC236}">
                <a16:creationId xmlns:a16="http://schemas.microsoft.com/office/drawing/2014/main" id="{B24EAF61-C1F8-FA1E-13FF-D54084B4E94C}"/>
              </a:ext>
            </a:extLst>
          </p:cNvPr>
          <p:cNvSpPr/>
          <p:nvPr/>
        </p:nvSpPr>
        <p:spPr>
          <a:xfrm>
            <a:off x="11002084" y="692175"/>
            <a:ext cx="460218" cy="460218"/>
          </a:xfrm>
          <a:custGeom>
            <a:avLst/>
            <a:gdLst>
              <a:gd name="connsiteX0" fmla="*/ 65746 w 460218"/>
              <a:gd name="connsiteY0" fmla="*/ 0 h 460218"/>
              <a:gd name="connsiteX1" fmla="*/ 0 w 460218"/>
              <a:gd name="connsiteY1" fmla="*/ 65746 h 460218"/>
              <a:gd name="connsiteX2" fmla="*/ 0 w 460218"/>
              <a:gd name="connsiteY2" fmla="*/ 394473 h 460218"/>
              <a:gd name="connsiteX3" fmla="*/ 65746 w 460218"/>
              <a:gd name="connsiteY3" fmla="*/ 460219 h 460218"/>
              <a:gd name="connsiteX4" fmla="*/ 394473 w 460218"/>
              <a:gd name="connsiteY4" fmla="*/ 460219 h 460218"/>
              <a:gd name="connsiteX5" fmla="*/ 460219 w 460218"/>
              <a:gd name="connsiteY5" fmla="*/ 394473 h 460218"/>
              <a:gd name="connsiteX6" fmla="*/ 460219 w 460218"/>
              <a:gd name="connsiteY6" fmla="*/ 65746 h 460218"/>
              <a:gd name="connsiteX7" fmla="*/ 394473 w 460218"/>
              <a:gd name="connsiteY7" fmla="*/ 0 h 460218"/>
              <a:gd name="connsiteX8" fmla="*/ 65746 w 460218"/>
              <a:gd name="connsiteY8" fmla="*/ 0 h 460218"/>
              <a:gd name="connsiteX9" fmla="*/ 427346 w 460218"/>
              <a:gd name="connsiteY9" fmla="*/ 326104 h 460218"/>
              <a:gd name="connsiteX10" fmla="*/ 366137 w 460218"/>
              <a:gd name="connsiteY10" fmla="*/ 297189 h 460218"/>
              <a:gd name="connsiteX11" fmla="*/ 323662 w 460218"/>
              <a:gd name="connsiteY11" fmla="*/ 224578 h 460218"/>
              <a:gd name="connsiteX12" fmla="*/ 314181 w 460218"/>
              <a:gd name="connsiteY12" fmla="*/ 196091 h 460218"/>
              <a:gd name="connsiteX13" fmla="*/ 309865 w 460218"/>
              <a:gd name="connsiteY13" fmla="*/ 182729 h 460218"/>
              <a:gd name="connsiteX14" fmla="*/ 294632 w 460218"/>
              <a:gd name="connsiteY14" fmla="*/ 143656 h 460218"/>
              <a:gd name="connsiteX15" fmla="*/ 270362 w 460218"/>
              <a:gd name="connsiteY15" fmla="*/ 112004 h 460218"/>
              <a:gd name="connsiteX16" fmla="*/ 230109 w 460218"/>
              <a:gd name="connsiteY16" fmla="*/ 98615 h 460218"/>
              <a:gd name="connsiteX17" fmla="*/ 189856 w 460218"/>
              <a:gd name="connsiteY17" fmla="*/ 112004 h 460218"/>
              <a:gd name="connsiteX18" fmla="*/ 165585 w 460218"/>
              <a:gd name="connsiteY18" fmla="*/ 143656 h 460218"/>
              <a:gd name="connsiteX19" fmla="*/ 150354 w 460218"/>
              <a:gd name="connsiteY19" fmla="*/ 182729 h 460218"/>
              <a:gd name="connsiteX20" fmla="*/ 146037 w 460218"/>
              <a:gd name="connsiteY20" fmla="*/ 196091 h 460218"/>
              <a:gd name="connsiteX21" fmla="*/ 136558 w 460218"/>
              <a:gd name="connsiteY21" fmla="*/ 224578 h 460218"/>
              <a:gd name="connsiteX22" fmla="*/ 94081 w 460218"/>
              <a:gd name="connsiteY22" fmla="*/ 297189 h 460218"/>
              <a:gd name="connsiteX23" fmla="*/ 32873 w 460218"/>
              <a:gd name="connsiteY23" fmla="*/ 326104 h 460218"/>
              <a:gd name="connsiteX24" fmla="*/ 32873 w 460218"/>
              <a:gd name="connsiteY24" fmla="*/ 65746 h 460218"/>
              <a:gd name="connsiteX25" fmla="*/ 65746 w 460218"/>
              <a:gd name="connsiteY25" fmla="*/ 32873 h 460218"/>
              <a:gd name="connsiteX26" fmla="*/ 394473 w 460218"/>
              <a:gd name="connsiteY26" fmla="*/ 32873 h 460218"/>
              <a:gd name="connsiteX27" fmla="*/ 427346 w 460218"/>
              <a:gd name="connsiteY27" fmla="*/ 65746 h 460218"/>
              <a:gd name="connsiteX28" fmla="*/ 427346 w 460218"/>
              <a:gd name="connsiteY28" fmla="*/ 326104 h 460218"/>
              <a:gd name="connsiteX29" fmla="*/ 32873 w 460218"/>
              <a:gd name="connsiteY29" fmla="*/ 359372 h 460218"/>
              <a:gd name="connsiteX30" fmla="*/ 116510 w 460218"/>
              <a:gd name="connsiteY30" fmla="*/ 321223 h 460218"/>
              <a:gd name="connsiteX31" fmla="*/ 167515 w 460218"/>
              <a:gd name="connsiteY31" fmla="*/ 235635 h 460218"/>
              <a:gd name="connsiteX32" fmla="*/ 177549 w 460218"/>
              <a:gd name="connsiteY32" fmla="*/ 205480 h 460218"/>
              <a:gd name="connsiteX33" fmla="*/ 181584 w 460218"/>
              <a:gd name="connsiteY33" fmla="*/ 192990 h 460218"/>
              <a:gd name="connsiteX34" fmla="*/ 194988 w 460218"/>
              <a:gd name="connsiteY34" fmla="*/ 158357 h 460218"/>
              <a:gd name="connsiteX35" fmla="*/ 210138 w 460218"/>
              <a:gd name="connsiteY35" fmla="*/ 137874 h 460218"/>
              <a:gd name="connsiteX36" fmla="*/ 230109 w 460218"/>
              <a:gd name="connsiteY36" fmla="*/ 131488 h 460218"/>
              <a:gd name="connsiteX37" fmla="*/ 250079 w 460218"/>
              <a:gd name="connsiteY37" fmla="*/ 137874 h 460218"/>
              <a:gd name="connsiteX38" fmla="*/ 265231 w 460218"/>
              <a:gd name="connsiteY38" fmla="*/ 158357 h 460218"/>
              <a:gd name="connsiteX39" fmla="*/ 278636 w 460218"/>
              <a:gd name="connsiteY39" fmla="*/ 192990 h 460218"/>
              <a:gd name="connsiteX40" fmla="*/ 282670 w 460218"/>
              <a:gd name="connsiteY40" fmla="*/ 205481 h 460218"/>
              <a:gd name="connsiteX41" fmla="*/ 292702 w 460218"/>
              <a:gd name="connsiteY41" fmla="*/ 235635 h 460218"/>
              <a:gd name="connsiteX42" fmla="*/ 343708 w 460218"/>
              <a:gd name="connsiteY42" fmla="*/ 321223 h 460218"/>
              <a:gd name="connsiteX43" fmla="*/ 427346 w 460218"/>
              <a:gd name="connsiteY43" fmla="*/ 359372 h 460218"/>
              <a:gd name="connsiteX44" fmla="*/ 427346 w 460218"/>
              <a:gd name="connsiteY44" fmla="*/ 394473 h 460218"/>
              <a:gd name="connsiteX45" fmla="*/ 394473 w 460218"/>
              <a:gd name="connsiteY45" fmla="*/ 427346 h 460218"/>
              <a:gd name="connsiteX46" fmla="*/ 65746 w 460218"/>
              <a:gd name="connsiteY46" fmla="*/ 427346 h 460218"/>
              <a:gd name="connsiteX47" fmla="*/ 32873 w 460218"/>
              <a:gd name="connsiteY47" fmla="*/ 394473 h 460218"/>
              <a:gd name="connsiteX48" fmla="*/ 32873 w 460218"/>
              <a:gd name="connsiteY48" fmla="*/ 359372 h 460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460218" h="460218">
                <a:moveTo>
                  <a:pt x="65746" y="0"/>
                </a:moveTo>
                <a:cubicBezTo>
                  <a:pt x="29435" y="0"/>
                  <a:pt x="0" y="29435"/>
                  <a:pt x="0" y="65746"/>
                </a:cubicBezTo>
                <a:lnTo>
                  <a:pt x="0" y="394473"/>
                </a:lnTo>
                <a:cubicBezTo>
                  <a:pt x="0" y="430784"/>
                  <a:pt x="29435" y="460219"/>
                  <a:pt x="65746" y="460219"/>
                </a:cubicBezTo>
                <a:lnTo>
                  <a:pt x="394473" y="460219"/>
                </a:lnTo>
                <a:cubicBezTo>
                  <a:pt x="430784" y="460219"/>
                  <a:pt x="460219" y="430784"/>
                  <a:pt x="460219" y="394473"/>
                </a:cubicBezTo>
                <a:lnTo>
                  <a:pt x="460219" y="65746"/>
                </a:lnTo>
                <a:cubicBezTo>
                  <a:pt x="460219" y="29435"/>
                  <a:pt x="430784" y="0"/>
                  <a:pt x="394473" y="0"/>
                </a:cubicBezTo>
                <a:lnTo>
                  <a:pt x="65746" y="0"/>
                </a:lnTo>
                <a:close/>
                <a:moveTo>
                  <a:pt x="427346" y="326104"/>
                </a:moveTo>
                <a:cubicBezTo>
                  <a:pt x="399910" y="321384"/>
                  <a:pt x="380581" y="310671"/>
                  <a:pt x="366137" y="297189"/>
                </a:cubicBezTo>
                <a:cubicBezTo>
                  <a:pt x="345966" y="278363"/>
                  <a:pt x="333688" y="252657"/>
                  <a:pt x="323662" y="224578"/>
                </a:cubicBezTo>
                <a:cubicBezTo>
                  <a:pt x="320227" y="214964"/>
                  <a:pt x="317206" y="205535"/>
                  <a:pt x="314181" y="196091"/>
                </a:cubicBezTo>
                <a:cubicBezTo>
                  <a:pt x="312758" y="191647"/>
                  <a:pt x="311335" y="187200"/>
                  <a:pt x="309865" y="182729"/>
                </a:cubicBezTo>
                <a:cubicBezTo>
                  <a:pt x="305404" y="169151"/>
                  <a:pt x="300602" y="155591"/>
                  <a:pt x="294632" y="143656"/>
                </a:cubicBezTo>
                <a:cubicBezTo>
                  <a:pt x="288669" y="131725"/>
                  <a:pt x="281039" y="120375"/>
                  <a:pt x="270362" y="112004"/>
                </a:cubicBezTo>
                <a:cubicBezTo>
                  <a:pt x="259327" y="103353"/>
                  <a:pt x="245964" y="98615"/>
                  <a:pt x="230109" y="98615"/>
                </a:cubicBezTo>
                <a:cubicBezTo>
                  <a:pt x="214254" y="98615"/>
                  <a:pt x="200890" y="103353"/>
                  <a:pt x="189856" y="112004"/>
                </a:cubicBezTo>
                <a:cubicBezTo>
                  <a:pt x="179179" y="120375"/>
                  <a:pt x="171550" y="131725"/>
                  <a:pt x="165585" y="143656"/>
                </a:cubicBezTo>
                <a:cubicBezTo>
                  <a:pt x="159618" y="155591"/>
                  <a:pt x="154815" y="169151"/>
                  <a:pt x="150354" y="182729"/>
                </a:cubicBezTo>
                <a:cubicBezTo>
                  <a:pt x="148885" y="187200"/>
                  <a:pt x="147460" y="191647"/>
                  <a:pt x="146037" y="196091"/>
                </a:cubicBezTo>
                <a:cubicBezTo>
                  <a:pt x="143012" y="205535"/>
                  <a:pt x="139991" y="214964"/>
                  <a:pt x="136558" y="224578"/>
                </a:cubicBezTo>
                <a:cubicBezTo>
                  <a:pt x="126530" y="252657"/>
                  <a:pt x="114252" y="278363"/>
                  <a:pt x="94081" y="297189"/>
                </a:cubicBezTo>
                <a:cubicBezTo>
                  <a:pt x="79637" y="310671"/>
                  <a:pt x="60307" y="321384"/>
                  <a:pt x="32873" y="326104"/>
                </a:cubicBezTo>
                <a:lnTo>
                  <a:pt x="32873" y="65746"/>
                </a:lnTo>
                <a:cubicBezTo>
                  <a:pt x="32873" y="47591"/>
                  <a:pt x="47591" y="32873"/>
                  <a:pt x="65746" y="32873"/>
                </a:cubicBezTo>
                <a:lnTo>
                  <a:pt x="394473" y="32873"/>
                </a:lnTo>
                <a:cubicBezTo>
                  <a:pt x="412629" y="32873"/>
                  <a:pt x="427346" y="47591"/>
                  <a:pt x="427346" y="65746"/>
                </a:cubicBezTo>
                <a:lnTo>
                  <a:pt x="427346" y="326104"/>
                </a:lnTo>
                <a:close/>
                <a:moveTo>
                  <a:pt x="32873" y="359372"/>
                </a:moveTo>
                <a:cubicBezTo>
                  <a:pt x="68762" y="354247"/>
                  <a:pt x="95814" y="340539"/>
                  <a:pt x="116510" y="321223"/>
                </a:cubicBezTo>
                <a:cubicBezTo>
                  <a:pt x="142566" y="296903"/>
                  <a:pt x="156997" y="265086"/>
                  <a:pt x="167515" y="235635"/>
                </a:cubicBezTo>
                <a:cubicBezTo>
                  <a:pt x="171133" y="225505"/>
                  <a:pt x="174440" y="215184"/>
                  <a:pt x="177549" y="205480"/>
                </a:cubicBezTo>
                <a:cubicBezTo>
                  <a:pt x="178930" y="201172"/>
                  <a:pt x="180272" y="196985"/>
                  <a:pt x="181584" y="192990"/>
                </a:cubicBezTo>
                <a:cubicBezTo>
                  <a:pt x="185983" y="179603"/>
                  <a:pt x="190169" y="167994"/>
                  <a:pt x="194988" y="158357"/>
                </a:cubicBezTo>
                <a:cubicBezTo>
                  <a:pt x="199809" y="148714"/>
                  <a:pt x="204765" y="142087"/>
                  <a:pt x="210138" y="137874"/>
                </a:cubicBezTo>
                <a:cubicBezTo>
                  <a:pt x="215155" y="133941"/>
                  <a:pt x="221310" y="131488"/>
                  <a:pt x="230109" y="131488"/>
                </a:cubicBezTo>
                <a:cubicBezTo>
                  <a:pt x="238909" y="131488"/>
                  <a:pt x="245063" y="133941"/>
                  <a:pt x="250079" y="137874"/>
                </a:cubicBezTo>
                <a:cubicBezTo>
                  <a:pt x="255454" y="142087"/>
                  <a:pt x="260408" y="148714"/>
                  <a:pt x="265231" y="158357"/>
                </a:cubicBezTo>
                <a:cubicBezTo>
                  <a:pt x="270050" y="167994"/>
                  <a:pt x="274234" y="179603"/>
                  <a:pt x="278636" y="192990"/>
                </a:cubicBezTo>
                <a:cubicBezTo>
                  <a:pt x="279948" y="196985"/>
                  <a:pt x="281289" y="201172"/>
                  <a:pt x="282670" y="205481"/>
                </a:cubicBezTo>
                <a:cubicBezTo>
                  <a:pt x="285779" y="215185"/>
                  <a:pt x="289086" y="225505"/>
                  <a:pt x="292702" y="235635"/>
                </a:cubicBezTo>
                <a:cubicBezTo>
                  <a:pt x="303222" y="265086"/>
                  <a:pt x="317653" y="296903"/>
                  <a:pt x="343708" y="321223"/>
                </a:cubicBezTo>
                <a:cubicBezTo>
                  <a:pt x="364404" y="340539"/>
                  <a:pt x="391455" y="354247"/>
                  <a:pt x="427346" y="359372"/>
                </a:cubicBezTo>
                <a:lnTo>
                  <a:pt x="427346" y="394473"/>
                </a:lnTo>
                <a:cubicBezTo>
                  <a:pt x="427346" y="412629"/>
                  <a:pt x="412629" y="427346"/>
                  <a:pt x="394473" y="427346"/>
                </a:cubicBezTo>
                <a:lnTo>
                  <a:pt x="65746" y="427346"/>
                </a:lnTo>
                <a:cubicBezTo>
                  <a:pt x="47591" y="427346"/>
                  <a:pt x="32873" y="412629"/>
                  <a:pt x="32873" y="394473"/>
                </a:cubicBezTo>
                <a:lnTo>
                  <a:pt x="32873" y="359372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3286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4" name="Graphic 20" descr="Album&#10;Keyword: fluent-icon;&#10;Metaphor: photo, book, pictures, image;&#10;Direction: mirror;&#10;&#10;Used as a collection of photos and memories.">
            <a:extLst>
              <a:ext uri="{FF2B5EF4-FFF2-40B4-BE49-F238E27FC236}">
                <a16:creationId xmlns:a16="http://schemas.microsoft.com/office/drawing/2014/main" id="{10F1DFD3-2A73-A4D3-405C-3EE56ED5D0F9}"/>
              </a:ext>
            </a:extLst>
          </p:cNvPr>
          <p:cNvSpPr/>
          <p:nvPr/>
        </p:nvSpPr>
        <p:spPr>
          <a:xfrm>
            <a:off x="692075" y="1945680"/>
            <a:ext cx="547879" cy="438303"/>
          </a:xfrm>
          <a:custGeom>
            <a:avLst/>
            <a:gdLst>
              <a:gd name="connsiteX0" fmla="*/ 219152 w 547879"/>
              <a:gd name="connsiteY0" fmla="*/ 136970 h 438303"/>
              <a:gd name="connsiteX1" fmla="*/ 273940 w 547879"/>
              <a:gd name="connsiteY1" fmla="*/ 82182 h 438303"/>
              <a:gd name="connsiteX2" fmla="*/ 383515 w 547879"/>
              <a:gd name="connsiteY2" fmla="*/ 82182 h 438303"/>
              <a:gd name="connsiteX3" fmla="*/ 438303 w 547879"/>
              <a:gd name="connsiteY3" fmla="*/ 136970 h 438303"/>
              <a:gd name="connsiteX4" fmla="*/ 438303 w 547879"/>
              <a:gd name="connsiteY4" fmla="*/ 164364 h 438303"/>
              <a:gd name="connsiteX5" fmla="*/ 383515 w 547879"/>
              <a:gd name="connsiteY5" fmla="*/ 219152 h 438303"/>
              <a:gd name="connsiteX6" fmla="*/ 273940 w 547879"/>
              <a:gd name="connsiteY6" fmla="*/ 219152 h 438303"/>
              <a:gd name="connsiteX7" fmla="*/ 219152 w 547879"/>
              <a:gd name="connsiteY7" fmla="*/ 164364 h 438303"/>
              <a:gd name="connsiteX8" fmla="*/ 219152 w 547879"/>
              <a:gd name="connsiteY8" fmla="*/ 136970 h 438303"/>
              <a:gd name="connsiteX9" fmla="*/ 273940 w 547879"/>
              <a:gd name="connsiteY9" fmla="*/ 123273 h 438303"/>
              <a:gd name="connsiteX10" fmla="*/ 260243 w 547879"/>
              <a:gd name="connsiteY10" fmla="*/ 136970 h 438303"/>
              <a:gd name="connsiteX11" fmla="*/ 260243 w 547879"/>
              <a:gd name="connsiteY11" fmla="*/ 164364 h 438303"/>
              <a:gd name="connsiteX12" fmla="*/ 273940 w 547879"/>
              <a:gd name="connsiteY12" fmla="*/ 178061 h 438303"/>
              <a:gd name="connsiteX13" fmla="*/ 383515 w 547879"/>
              <a:gd name="connsiteY13" fmla="*/ 178061 h 438303"/>
              <a:gd name="connsiteX14" fmla="*/ 397212 w 547879"/>
              <a:gd name="connsiteY14" fmla="*/ 164364 h 438303"/>
              <a:gd name="connsiteX15" fmla="*/ 397212 w 547879"/>
              <a:gd name="connsiteY15" fmla="*/ 136970 h 438303"/>
              <a:gd name="connsiteX16" fmla="*/ 383515 w 547879"/>
              <a:gd name="connsiteY16" fmla="*/ 123273 h 438303"/>
              <a:gd name="connsiteX17" fmla="*/ 273940 w 547879"/>
              <a:gd name="connsiteY17" fmla="*/ 123273 h 438303"/>
              <a:gd name="connsiteX18" fmla="*/ 54788 w 547879"/>
              <a:gd name="connsiteY18" fmla="*/ 0 h 438303"/>
              <a:gd name="connsiteX19" fmla="*/ 0 w 547879"/>
              <a:gd name="connsiteY19" fmla="*/ 54788 h 438303"/>
              <a:gd name="connsiteX20" fmla="*/ 0 w 547879"/>
              <a:gd name="connsiteY20" fmla="*/ 383515 h 438303"/>
              <a:gd name="connsiteX21" fmla="*/ 54788 w 547879"/>
              <a:gd name="connsiteY21" fmla="*/ 438303 h 438303"/>
              <a:gd name="connsiteX22" fmla="*/ 493091 w 547879"/>
              <a:gd name="connsiteY22" fmla="*/ 438303 h 438303"/>
              <a:gd name="connsiteX23" fmla="*/ 547879 w 547879"/>
              <a:gd name="connsiteY23" fmla="*/ 383515 h 438303"/>
              <a:gd name="connsiteX24" fmla="*/ 547879 w 547879"/>
              <a:gd name="connsiteY24" fmla="*/ 54788 h 438303"/>
              <a:gd name="connsiteX25" fmla="*/ 493091 w 547879"/>
              <a:gd name="connsiteY25" fmla="*/ 0 h 438303"/>
              <a:gd name="connsiteX26" fmla="*/ 54788 w 547879"/>
              <a:gd name="connsiteY26" fmla="*/ 0 h 438303"/>
              <a:gd name="connsiteX27" fmla="*/ 493091 w 547879"/>
              <a:gd name="connsiteY27" fmla="*/ 41091 h 438303"/>
              <a:gd name="connsiteX28" fmla="*/ 506788 w 547879"/>
              <a:gd name="connsiteY28" fmla="*/ 54788 h 438303"/>
              <a:gd name="connsiteX29" fmla="*/ 506788 w 547879"/>
              <a:gd name="connsiteY29" fmla="*/ 383515 h 438303"/>
              <a:gd name="connsiteX30" fmla="*/ 493091 w 547879"/>
              <a:gd name="connsiteY30" fmla="*/ 397212 h 438303"/>
              <a:gd name="connsiteX31" fmla="*/ 150667 w 547879"/>
              <a:gd name="connsiteY31" fmla="*/ 397212 h 438303"/>
              <a:gd name="connsiteX32" fmla="*/ 150667 w 547879"/>
              <a:gd name="connsiteY32" fmla="*/ 41091 h 438303"/>
              <a:gd name="connsiteX33" fmla="*/ 493091 w 547879"/>
              <a:gd name="connsiteY33" fmla="*/ 41091 h 438303"/>
              <a:gd name="connsiteX34" fmla="*/ 54788 w 547879"/>
              <a:gd name="connsiteY34" fmla="*/ 41091 h 438303"/>
              <a:gd name="connsiteX35" fmla="*/ 109576 w 547879"/>
              <a:gd name="connsiteY35" fmla="*/ 41091 h 438303"/>
              <a:gd name="connsiteX36" fmla="*/ 109576 w 547879"/>
              <a:gd name="connsiteY36" fmla="*/ 397212 h 438303"/>
              <a:gd name="connsiteX37" fmla="*/ 54788 w 547879"/>
              <a:gd name="connsiteY37" fmla="*/ 397212 h 438303"/>
              <a:gd name="connsiteX38" fmla="*/ 41091 w 547879"/>
              <a:gd name="connsiteY38" fmla="*/ 383515 h 438303"/>
              <a:gd name="connsiteX39" fmla="*/ 41091 w 547879"/>
              <a:gd name="connsiteY39" fmla="*/ 54788 h 438303"/>
              <a:gd name="connsiteX40" fmla="*/ 54788 w 547879"/>
              <a:gd name="connsiteY40" fmla="*/ 41091 h 438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547879" h="438303">
                <a:moveTo>
                  <a:pt x="219152" y="136970"/>
                </a:moveTo>
                <a:cubicBezTo>
                  <a:pt x="219152" y="106711"/>
                  <a:pt x="243680" y="82182"/>
                  <a:pt x="273940" y="82182"/>
                </a:cubicBezTo>
                <a:lnTo>
                  <a:pt x="383515" y="82182"/>
                </a:lnTo>
                <a:cubicBezTo>
                  <a:pt x="413775" y="82182"/>
                  <a:pt x="438303" y="106711"/>
                  <a:pt x="438303" y="136970"/>
                </a:cubicBezTo>
                <a:lnTo>
                  <a:pt x="438303" y="164364"/>
                </a:lnTo>
                <a:cubicBezTo>
                  <a:pt x="438303" y="194623"/>
                  <a:pt x="413775" y="219152"/>
                  <a:pt x="383515" y="219152"/>
                </a:cubicBezTo>
                <a:lnTo>
                  <a:pt x="273940" y="219152"/>
                </a:lnTo>
                <a:cubicBezTo>
                  <a:pt x="243680" y="219152"/>
                  <a:pt x="219152" y="194623"/>
                  <a:pt x="219152" y="164364"/>
                </a:cubicBezTo>
                <a:lnTo>
                  <a:pt x="219152" y="136970"/>
                </a:lnTo>
                <a:close/>
                <a:moveTo>
                  <a:pt x="273940" y="123273"/>
                </a:moveTo>
                <a:cubicBezTo>
                  <a:pt x="266376" y="123273"/>
                  <a:pt x="260243" y="129405"/>
                  <a:pt x="260243" y="136970"/>
                </a:cubicBezTo>
                <a:lnTo>
                  <a:pt x="260243" y="164364"/>
                </a:lnTo>
                <a:cubicBezTo>
                  <a:pt x="260243" y="171927"/>
                  <a:pt x="266376" y="178061"/>
                  <a:pt x="273940" y="178061"/>
                </a:cubicBezTo>
                <a:lnTo>
                  <a:pt x="383515" y="178061"/>
                </a:lnTo>
                <a:cubicBezTo>
                  <a:pt x="391079" y="178061"/>
                  <a:pt x="397212" y="171927"/>
                  <a:pt x="397212" y="164364"/>
                </a:cubicBezTo>
                <a:lnTo>
                  <a:pt x="397212" y="136970"/>
                </a:lnTo>
                <a:cubicBezTo>
                  <a:pt x="397212" y="129405"/>
                  <a:pt x="391079" y="123273"/>
                  <a:pt x="383515" y="123273"/>
                </a:cubicBezTo>
                <a:lnTo>
                  <a:pt x="273940" y="123273"/>
                </a:lnTo>
                <a:close/>
                <a:moveTo>
                  <a:pt x="54788" y="0"/>
                </a:moveTo>
                <a:cubicBezTo>
                  <a:pt x="24529" y="0"/>
                  <a:pt x="0" y="24529"/>
                  <a:pt x="0" y="54788"/>
                </a:cubicBezTo>
                <a:lnTo>
                  <a:pt x="0" y="383515"/>
                </a:lnTo>
                <a:cubicBezTo>
                  <a:pt x="0" y="413775"/>
                  <a:pt x="24529" y="438303"/>
                  <a:pt x="54788" y="438303"/>
                </a:cubicBezTo>
                <a:lnTo>
                  <a:pt x="493091" y="438303"/>
                </a:lnTo>
                <a:cubicBezTo>
                  <a:pt x="523351" y="438303"/>
                  <a:pt x="547879" y="413775"/>
                  <a:pt x="547879" y="383515"/>
                </a:cubicBezTo>
                <a:lnTo>
                  <a:pt x="547879" y="54788"/>
                </a:lnTo>
                <a:cubicBezTo>
                  <a:pt x="547879" y="24529"/>
                  <a:pt x="523351" y="0"/>
                  <a:pt x="493091" y="0"/>
                </a:cubicBezTo>
                <a:lnTo>
                  <a:pt x="54788" y="0"/>
                </a:lnTo>
                <a:close/>
                <a:moveTo>
                  <a:pt x="493091" y="41091"/>
                </a:moveTo>
                <a:cubicBezTo>
                  <a:pt x="500655" y="41091"/>
                  <a:pt x="506788" y="47223"/>
                  <a:pt x="506788" y="54788"/>
                </a:cubicBezTo>
                <a:lnTo>
                  <a:pt x="506788" y="383515"/>
                </a:lnTo>
                <a:cubicBezTo>
                  <a:pt x="506788" y="391079"/>
                  <a:pt x="500655" y="397212"/>
                  <a:pt x="493091" y="397212"/>
                </a:cubicBezTo>
                <a:lnTo>
                  <a:pt x="150667" y="397212"/>
                </a:lnTo>
                <a:lnTo>
                  <a:pt x="150667" y="41091"/>
                </a:lnTo>
                <a:lnTo>
                  <a:pt x="493091" y="41091"/>
                </a:lnTo>
                <a:close/>
                <a:moveTo>
                  <a:pt x="54788" y="41091"/>
                </a:moveTo>
                <a:lnTo>
                  <a:pt x="109576" y="41091"/>
                </a:lnTo>
                <a:lnTo>
                  <a:pt x="109576" y="397212"/>
                </a:lnTo>
                <a:lnTo>
                  <a:pt x="54788" y="397212"/>
                </a:lnTo>
                <a:cubicBezTo>
                  <a:pt x="47223" y="397212"/>
                  <a:pt x="41091" y="391079"/>
                  <a:pt x="41091" y="383515"/>
                </a:cubicBezTo>
                <a:lnTo>
                  <a:pt x="41091" y="54788"/>
                </a:lnTo>
                <a:cubicBezTo>
                  <a:pt x="41091" y="47223"/>
                  <a:pt x="47223" y="41091"/>
                  <a:pt x="54788" y="41091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5" name="Graphic 45" descr="Folder Person&#10;Keyword: fluent-icon;&#10;Metaphor: analog, collection;&#10;&#10;Used to represent collections of files.">
            <a:extLst>
              <a:ext uri="{FF2B5EF4-FFF2-40B4-BE49-F238E27FC236}">
                <a16:creationId xmlns:a16="http://schemas.microsoft.com/office/drawing/2014/main" id="{B2E22915-1F37-C72D-3EAF-3AE05A14A8F1}"/>
              </a:ext>
            </a:extLst>
          </p:cNvPr>
          <p:cNvSpPr/>
          <p:nvPr/>
        </p:nvSpPr>
        <p:spPr>
          <a:xfrm>
            <a:off x="1641159" y="1934723"/>
            <a:ext cx="558836" cy="525964"/>
          </a:xfrm>
          <a:custGeom>
            <a:avLst/>
            <a:gdLst>
              <a:gd name="connsiteX0" fmla="*/ 195014 w 558836"/>
              <a:gd name="connsiteY0" fmla="*/ 6909 h 525964"/>
              <a:gd name="connsiteX1" fmla="*/ 169843 w 558836"/>
              <a:gd name="connsiteY1" fmla="*/ 0 h 525964"/>
              <a:gd name="connsiteX2" fmla="*/ 82182 w 558836"/>
              <a:gd name="connsiteY2" fmla="*/ 0 h 525964"/>
              <a:gd name="connsiteX3" fmla="*/ 76778 w 558836"/>
              <a:gd name="connsiteY3" fmla="*/ 175 h 525964"/>
              <a:gd name="connsiteX4" fmla="*/ 0 w 558836"/>
              <a:gd name="connsiteY4" fmla="*/ 82182 h 525964"/>
              <a:gd name="connsiteX5" fmla="*/ 0 w 558836"/>
              <a:gd name="connsiteY5" fmla="*/ 378037 h 525964"/>
              <a:gd name="connsiteX6" fmla="*/ 175 w 558836"/>
              <a:gd name="connsiteY6" fmla="*/ 383441 h 525964"/>
              <a:gd name="connsiteX7" fmla="*/ 82182 w 558836"/>
              <a:gd name="connsiteY7" fmla="*/ 460219 h 525964"/>
              <a:gd name="connsiteX8" fmla="*/ 297107 w 558836"/>
              <a:gd name="connsiteY8" fmla="*/ 460219 h 525964"/>
              <a:gd name="connsiteX9" fmla="*/ 295855 w 558836"/>
              <a:gd name="connsiteY9" fmla="*/ 443782 h 525964"/>
              <a:gd name="connsiteX10" fmla="*/ 297498 w 558836"/>
              <a:gd name="connsiteY10" fmla="*/ 427346 h 525964"/>
              <a:gd name="connsiteX11" fmla="*/ 82182 w 558836"/>
              <a:gd name="connsiteY11" fmla="*/ 427346 h 525964"/>
              <a:gd name="connsiteX12" fmla="*/ 77433 w 558836"/>
              <a:gd name="connsiteY12" fmla="*/ 427119 h 525964"/>
              <a:gd name="connsiteX13" fmla="*/ 32873 w 558836"/>
              <a:gd name="connsiteY13" fmla="*/ 378037 h 525964"/>
              <a:gd name="connsiteX14" fmla="*/ 32873 w 558836"/>
              <a:gd name="connsiteY14" fmla="*/ 147895 h 525964"/>
              <a:gd name="connsiteX15" fmla="*/ 166712 w 558836"/>
              <a:gd name="connsiteY15" fmla="*/ 147927 h 525964"/>
              <a:gd name="connsiteX16" fmla="*/ 171739 w 558836"/>
              <a:gd name="connsiteY16" fmla="*/ 147671 h 525964"/>
              <a:gd name="connsiteX17" fmla="*/ 202418 w 558836"/>
              <a:gd name="connsiteY17" fmla="*/ 132625 h 525964"/>
              <a:gd name="connsiteX18" fmla="*/ 250392 w 558836"/>
              <a:gd name="connsiteY18" fmla="*/ 82182 h 525964"/>
              <a:gd name="connsiteX19" fmla="*/ 443782 w 558836"/>
              <a:gd name="connsiteY19" fmla="*/ 82182 h 525964"/>
              <a:gd name="connsiteX20" fmla="*/ 448532 w 558836"/>
              <a:gd name="connsiteY20" fmla="*/ 82408 h 525964"/>
              <a:gd name="connsiteX21" fmla="*/ 493091 w 558836"/>
              <a:gd name="connsiteY21" fmla="*/ 131491 h 525964"/>
              <a:gd name="connsiteX22" fmla="*/ 493091 w 558836"/>
              <a:gd name="connsiteY22" fmla="*/ 210430 h 525964"/>
              <a:gd name="connsiteX23" fmla="*/ 525964 w 558836"/>
              <a:gd name="connsiteY23" fmla="*/ 241322 h 525964"/>
              <a:gd name="connsiteX24" fmla="*/ 525964 w 558836"/>
              <a:gd name="connsiteY24" fmla="*/ 131491 h 525964"/>
              <a:gd name="connsiteX25" fmla="*/ 525790 w 558836"/>
              <a:gd name="connsiteY25" fmla="*/ 126087 h 525964"/>
              <a:gd name="connsiteX26" fmla="*/ 525270 w 558836"/>
              <a:gd name="connsiteY26" fmla="*/ 120777 h 525964"/>
              <a:gd name="connsiteX27" fmla="*/ 443782 w 558836"/>
              <a:gd name="connsiteY27" fmla="*/ 49309 h 525964"/>
              <a:gd name="connsiteX28" fmla="*/ 252035 w 558836"/>
              <a:gd name="connsiteY28" fmla="*/ 49309 h 525964"/>
              <a:gd name="connsiteX29" fmla="*/ 199428 w 558836"/>
              <a:gd name="connsiteY29" fmla="*/ 9862 h 525964"/>
              <a:gd name="connsiteX30" fmla="*/ 195014 w 558836"/>
              <a:gd name="connsiteY30" fmla="*/ 6909 h 525964"/>
              <a:gd name="connsiteX31" fmla="*/ 82182 w 558836"/>
              <a:gd name="connsiteY31" fmla="*/ 32873 h 525964"/>
              <a:gd name="connsiteX32" fmla="*/ 169843 w 558836"/>
              <a:gd name="connsiteY32" fmla="*/ 32873 h 525964"/>
              <a:gd name="connsiteX33" fmla="*/ 172484 w 558836"/>
              <a:gd name="connsiteY33" fmla="*/ 33086 h 525964"/>
              <a:gd name="connsiteX34" fmla="*/ 179704 w 558836"/>
              <a:gd name="connsiteY34" fmla="*/ 36160 h 525964"/>
              <a:gd name="connsiteX35" fmla="*/ 220050 w 558836"/>
              <a:gd name="connsiteY35" fmla="*/ 66436 h 525964"/>
              <a:gd name="connsiteX36" fmla="*/ 178614 w 558836"/>
              <a:gd name="connsiteY36" fmla="*/ 109954 h 525964"/>
              <a:gd name="connsiteX37" fmla="*/ 176617 w 558836"/>
              <a:gd name="connsiteY37" fmla="*/ 111735 h 525964"/>
              <a:gd name="connsiteX38" fmla="*/ 166712 w 558836"/>
              <a:gd name="connsiteY38" fmla="*/ 115055 h 525964"/>
              <a:gd name="connsiteX39" fmla="*/ 32873 w 558836"/>
              <a:gd name="connsiteY39" fmla="*/ 115022 h 525964"/>
              <a:gd name="connsiteX40" fmla="*/ 32873 w 558836"/>
              <a:gd name="connsiteY40" fmla="*/ 82182 h 525964"/>
              <a:gd name="connsiteX41" fmla="*/ 33099 w 558836"/>
              <a:gd name="connsiteY41" fmla="*/ 77433 h 525964"/>
              <a:gd name="connsiteX42" fmla="*/ 82182 w 558836"/>
              <a:gd name="connsiteY42" fmla="*/ 32873 h 525964"/>
              <a:gd name="connsiteX43" fmla="*/ 509528 w 558836"/>
              <a:gd name="connsiteY43" fmla="*/ 295855 h 525964"/>
              <a:gd name="connsiteX44" fmla="*/ 443782 w 558836"/>
              <a:gd name="connsiteY44" fmla="*/ 361600 h 525964"/>
              <a:gd name="connsiteX45" fmla="*/ 378037 w 558836"/>
              <a:gd name="connsiteY45" fmla="*/ 295855 h 525964"/>
              <a:gd name="connsiteX46" fmla="*/ 443782 w 558836"/>
              <a:gd name="connsiteY46" fmla="*/ 230109 h 525964"/>
              <a:gd name="connsiteX47" fmla="*/ 509528 w 558836"/>
              <a:gd name="connsiteY47" fmla="*/ 295855 h 525964"/>
              <a:gd name="connsiteX48" fmla="*/ 558837 w 558836"/>
              <a:gd name="connsiteY48" fmla="*/ 443782 h 525964"/>
              <a:gd name="connsiteX49" fmla="*/ 443782 w 558836"/>
              <a:gd name="connsiteY49" fmla="*/ 525964 h 525964"/>
              <a:gd name="connsiteX50" fmla="*/ 328728 w 558836"/>
              <a:gd name="connsiteY50" fmla="*/ 443782 h 525964"/>
              <a:gd name="connsiteX51" fmla="*/ 378037 w 558836"/>
              <a:gd name="connsiteY51" fmla="*/ 394473 h 525964"/>
              <a:gd name="connsiteX52" fmla="*/ 509528 w 558836"/>
              <a:gd name="connsiteY52" fmla="*/ 394473 h 525964"/>
              <a:gd name="connsiteX53" fmla="*/ 558837 w 558836"/>
              <a:gd name="connsiteY53" fmla="*/ 443782 h 525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558836" h="525964">
                <a:moveTo>
                  <a:pt x="195014" y="6909"/>
                </a:moveTo>
                <a:cubicBezTo>
                  <a:pt x="187424" y="2403"/>
                  <a:pt x="178733" y="0"/>
                  <a:pt x="169843" y="0"/>
                </a:cubicBezTo>
                <a:lnTo>
                  <a:pt x="82182" y="0"/>
                </a:lnTo>
                <a:lnTo>
                  <a:pt x="76778" y="175"/>
                </a:lnTo>
                <a:cubicBezTo>
                  <a:pt x="33910" y="2957"/>
                  <a:pt x="0" y="38610"/>
                  <a:pt x="0" y="82182"/>
                </a:cubicBezTo>
                <a:lnTo>
                  <a:pt x="0" y="378037"/>
                </a:lnTo>
                <a:lnTo>
                  <a:pt x="175" y="383441"/>
                </a:lnTo>
                <a:cubicBezTo>
                  <a:pt x="2957" y="426310"/>
                  <a:pt x="38610" y="460219"/>
                  <a:pt x="82182" y="460219"/>
                </a:cubicBezTo>
                <a:lnTo>
                  <a:pt x="297107" y="460219"/>
                </a:lnTo>
                <a:cubicBezTo>
                  <a:pt x="296269" y="454765"/>
                  <a:pt x="295855" y="449269"/>
                  <a:pt x="295855" y="443782"/>
                </a:cubicBezTo>
                <a:cubicBezTo>
                  <a:pt x="295855" y="438154"/>
                  <a:pt x="296420" y="432658"/>
                  <a:pt x="297498" y="427346"/>
                </a:cubicBezTo>
                <a:lnTo>
                  <a:pt x="82182" y="427346"/>
                </a:lnTo>
                <a:lnTo>
                  <a:pt x="77433" y="427119"/>
                </a:lnTo>
                <a:cubicBezTo>
                  <a:pt x="52428" y="424729"/>
                  <a:pt x="32873" y="403668"/>
                  <a:pt x="32873" y="378037"/>
                </a:cubicBezTo>
                <a:lnTo>
                  <a:pt x="32873" y="147895"/>
                </a:lnTo>
                <a:lnTo>
                  <a:pt x="166712" y="147927"/>
                </a:lnTo>
                <a:lnTo>
                  <a:pt x="171739" y="147671"/>
                </a:lnTo>
                <a:cubicBezTo>
                  <a:pt x="183377" y="146478"/>
                  <a:pt x="194275" y="141175"/>
                  <a:pt x="202418" y="132625"/>
                </a:cubicBezTo>
                <a:lnTo>
                  <a:pt x="250392" y="82182"/>
                </a:lnTo>
                <a:lnTo>
                  <a:pt x="443782" y="82182"/>
                </a:lnTo>
                <a:lnTo>
                  <a:pt x="448532" y="82408"/>
                </a:lnTo>
                <a:cubicBezTo>
                  <a:pt x="473535" y="84797"/>
                  <a:pt x="493091" y="105860"/>
                  <a:pt x="493091" y="131491"/>
                </a:cubicBezTo>
                <a:lnTo>
                  <a:pt x="493091" y="210430"/>
                </a:lnTo>
                <a:cubicBezTo>
                  <a:pt x="506286" y="218063"/>
                  <a:pt x="517549" y="228664"/>
                  <a:pt x="525964" y="241322"/>
                </a:cubicBezTo>
                <a:lnTo>
                  <a:pt x="525964" y="131491"/>
                </a:lnTo>
                <a:lnTo>
                  <a:pt x="525790" y="126087"/>
                </a:lnTo>
                <a:lnTo>
                  <a:pt x="525270" y="120777"/>
                </a:lnTo>
                <a:cubicBezTo>
                  <a:pt x="520021" y="80452"/>
                  <a:pt x="485540" y="49309"/>
                  <a:pt x="443782" y="49309"/>
                </a:cubicBezTo>
                <a:lnTo>
                  <a:pt x="252035" y="49309"/>
                </a:lnTo>
                <a:lnTo>
                  <a:pt x="199428" y="9862"/>
                </a:lnTo>
                <a:lnTo>
                  <a:pt x="195014" y="6909"/>
                </a:lnTo>
                <a:close/>
                <a:moveTo>
                  <a:pt x="82182" y="32873"/>
                </a:moveTo>
                <a:lnTo>
                  <a:pt x="169843" y="32873"/>
                </a:lnTo>
                <a:lnTo>
                  <a:pt x="172484" y="33086"/>
                </a:lnTo>
                <a:cubicBezTo>
                  <a:pt x="175091" y="33511"/>
                  <a:pt x="177571" y="34560"/>
                  <a:pt x="179704" y="36160"/>
                </a:cubicBezTo>
                <a:lnTo>
                  <a:pt x="220050" y="66436"/>
                </a:lnTo>
                <a:lnTo>
                  <a:pt x="178614" y="109954"/>
                </a:lnTo>
                <a:lnTo>
                  <a:pt x="176617" y="111735"/>
                </a:lnTo>
                <a:cubicBezTo>
                  <a:pt x="173783" y="113875"/>
                  <a:pt x="170310" y="115055"/>
                  <a:pt x="166712" y="115055"/>
                </a:cubicBezTo>
                <a:lnTo>
                  <a:pt x="32873" y="115022"/>
                </a:lnTo>
                <a:lnTo>
                  <a:pt x="32873" y="82182"/>
                </a:lnTo>
                <a:lnTo>
                  <a:pt x="33099" y="77433"/>
                </a:lnTo>
                <a:cubicBezTo>
                  <a:pt x="35488" y="52428"/>
                  <a:pt x="56551" y="32873"/>
                  <a:pt x="82182" y="32873"/>
                </a:cubicBezTo>
                <a:close/>
                <a:moveTo>
                  <a:pt x="509528" y="295855"/>
                </a:moveTo>
                <a:cubicBezTo>
                  <a:pt x="509528" y="332166"/>
                  <a:pt x="480093" y="361600"/>
                  <a:pt x="443782" y="361600"/>
                </a:cubicBezTo>
                <a:cubicBezTo>
                  <a:pt x="407471" y="361600"/>
                  <a:pt x="378037" y="332166"/>
                  <a:pt x="378037" y="295855"/>
                </a:cubicBezTo>
                <a:cubicBezTo>
                  <a:pt x="378037" y="259544"/>
                  <a:pt x="407471" y="230109"/>
                  <a:pt x="443782" y="230109"/>
                </a:cubicBezTo>
                <a:cubicBezTo>
                  <a:pt x="480093" y="230109"/>
                  <a:pt x="509528" y="259544"/>
                  <a:pt x="509528" y="295855"/>
                </a:cubicBezTo>
                <a:close/>
                <a:moveTo>
                  <a:pt x="558837" y="443782"/>
                </a:moveTo>
                <a:cubicBezTo>
                  <a:pt x="558837" y="484715"/>
                  <a:pt x="525964" y="525964"/>
                  <a:pt x="443782" y="525964"/>
                </a:cubicBezTo>
                <a:cubicBezTo>
                  <a:pt x="361600" y="525964"/>
                  <a:pt x="328728" y="484870"/>
                  <a:pt x="328728" y="443782"/>
                </a:cubicBezTo>
                <a:cubicBezTo>
                  <a:pt x="328728" y="416550"/>
                  <a:pt x="350805" y="394473"/>
                  <a:pt x="378037" y="394473"/>
                </a:cubicBezTo>
                <a:lnTo>
                  <a:pt x="509528" y="394473"/>
                </a:lnTo>
                <a:cubicBezTo>
                  <a:pt x="536759" y="394473"/>
                  <a:pt x="558837" y="416550"/>
                  <a:pt x="558837" y="443782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3286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6" name="Graphic 22" descr="Airplane Take Off&#10;Keyword: fluent-icon;&#10;Metaphor: flight, vehicle, travel, take off;&#10;&#10;Used for lift off time and general travel.">
            <a:extLst>
              <a:ext uri="{FF2B5EF4-FFF2-40B4-BE49-F238E27FC236}">
                <a16:creationId xmlns:a16="http://schemas.microsoft.com/office/drawing/2014/main" id="{936D2CA7-2096-ACD9-7431-A7E7466F872D}"/>
              </a:ext>
            </a:extLst>
          </p:cNvPr>
          <p:cNvSpPr/>
          <p:nvPr/>
        </p:nvSpPr>
        <p:spPr>
          <a:xfrm>
            <a:off x="2584847" y="1945680"/>
            <a:ext cx="521261" cy="465697"/>
          </a:xfrm>
          <a:custGeom>
            <a:avLst/>
            <a:gdLst>
              <a:gd name="connsiteX0" fmla="*/ 145613 w 521261"/>
              <a:gd name="connsiteY0" fmla="*/ 120757 h 465697"/>
              <a:gd name="connsiteX1" fmla="*/ 124468 w 521261"/>
              <a:gd name="connsiteY1" fmla="*/ 89889 h 465697"/>
              <a:gd name="connsiteX2" fmla="*/ 171850 w 521261"/>
              <a:gd name="connsiteY2" fmla="*/ 0 h 465697"/>
              <a:gd name="connsiteX3" fmla="*/ 207986 w 521261"/>
              <a:gd name="connsiteY3" fmla="*/ 12793 h 465697"/>
              <a:gd name="connsiteX4" fmla="*/ 278684 w 521261"/>
              <a:gd name="connsiteY4" fmla="*/ 70024 h 465697"/>
              <a:gd name="connsiteX5" fmla="*/ 308549 w 521261"/>
              <a:gd name="connsiteY5" fmla="*/ 42725 h 465697"/>
              <a:gd name="connsiteX6" fmla="*/ 375089 w 521261"/>
              <a:gd name="connsiteY6" fmla="*/ 13769 h 465697"/>
              <a:gd name="connsiteX7" fmla="*/ 508076 w 521261"/>
              <a:gd name="connsiteY7" fmla="*/ 77504 h 465697"/>
              <a:gd name="connsiteX8" fmla="*/ 518422 w 521261"/>
              <a:gd name="connsiteY8" fmla="*/ 129082 h 465697"/>
              <a:gd name="connsiteX9" fmla="*/ 481663 w 521261"/>
              <a:gd name="connsiteY9" fmla="*/ 165249 h 465697"/>
              <a:gd name="connsiteX10" fmla="*/ 334535 w 521261"/>
              <a:gd name="connsiteY10" fmla="*/ 215979 h 465697"/>
              <a:gd name="connsiteX11" fmla="*/ 247904 w 521261"/>
              <a:gd name="connsiteY11" fmla="*/ 331492 h 465697"/>
              <a:gd name="connsiteX12" fmla="*/ 198623 w 521261"/>
              <a:gd name="connsiteY12" fmla="*/ 356132 h 465697"/>
              <a:gd name="connsiteX13" fmla="*/ 138171 w 521261"/>
              <a:gd name="connsiteY13" fmla="*/ 282695 h 465697"/>
              <a:gd name="connsiteX14" fmla="*/ 145055 w 521261"/>
              <a:gd name="connsiteY14" fmla="*/ 247543 h 465697"/>
              <a:gd name="connsiteX15" fmla="*/ 75753 w 521261"/>
              <a:gd name="connsiteY15" fmla="*/ 262505 h 465697"/>
              <a:gd name="connsiteX16" fmla="*/ 0 w 521261"/>
              <a:gd name="connsiteY16" fmla="*/ 201362 h 465697"/>
              <a:gd name="connsiteX17" fmla="*/ 0 w 521261"/>
              <a:gd name="connsiteY17" fmla="*/ 101129 h 465697"/>
              <a:gd name="connsiteX18" fmla="*/ 46330 w 521261"/>
              <a:gd name="connsiteY18" fmla="*/ 54799 h 465697"/>
              <a:gd name="connsiteX19" fmla="*/ 87003 w 521261"/>
              <a:gd name="connsiteY19" fmla="*/ 78944 h 465697"/>
              <a:gd name="connsiteX20" fmla="*/ 113463 w 521261"/>
              <a:gd name="connsiteY20" fmla="*/ 127455 h 465697"/>
              <a:gd name="connsiteX21" fmla="*/ 145613 w 521261"/>
              <a:gd name="connsiteY21" fmla="*/ 120757 h 465697"/>
              <a:gd name="connsiteX22" fmla="*/ 158368 w 521261"/>
              <a:gd name="connsiteY22" fmla="*/ 66667 h 465697"/>
              <a:gd name="connsiteX23" fmla="*/ 189200 w 521261"/>
              <a:gd name="connsiteY23" fmla="*/ 111676 h 465697"/>
              <a:gd name="connsiteX24" fmla="*/ 241212 w 521261"/>
              <a:gd name="connsiteY24" fmla="*/ 100840 h 465697"/>
              <a:gd name="connsiteX25" fmla="*/ 248502 w 521261"/>
              <a:gd name="connsiteY25" fmla="*/ 98458 h 465697"/>
              <a:gd name="connsiteX26" fmla="*/ 182132 w 521261"/>
              <a:gd name="connsiteY26" fmla="*/ 44731 h 465697"/>
              <a:gd name="connsiteX27" fmla="*/ 171850 w 521261"/>
              <a:gd name="connsiteY27" fmla="*/ 41091 h 465697"/>
              <a:gd name="connsiteX28" fmla="*/ 158368 w 521261"/>
              <a:gd name="connsiteY28" fmla="*/ 66667 h 465697"/>
              <a:gd name="connsiteX29" fmla="*/ 378245 w 521261"/>
              <a:gd name="connsiteY29" fmla="*/ 54739 h 465697"/>
              <a:gd name="connsiteX30" fmla="*/ 333639 w 521261"/>
              <a:gd name="connsiteY30" fmla="*/ 75267 h 465697"/>
              <a:gd name="connsiteX31" fmla="*/ 296370 w 521261"/>
              <a:gd name="connsiteY31" fmla="*/ 112008 h 465697"/>
              <a:gd name="connsiteX32" fmla="*/ 249595 w 521261"/>
              <a:gd name="connsiteY32" fmla="*/ 141068 h 465697"/>
              <a:gd name="connsiteX33" fmla="*/ 106918 w 521261"/>
              <a:gd name="connsiteY33" fmla="*/ 170790 h 465697"/>
              <a:gd name="connsiteX34" fmla="*/ 84691 w 521261"/>
              <a:gd name="connsiteY34" fmla="*/ 160516 h 465697"/>
              <a:gd name="connsiteX35" fmla="*/ 50929 w 521261"/>
              <a:gd name="connsiteY35" fmla="*/ 98620 h 465697"/>
              <a:gd name="connsiteX36" fmla="*/ 46330 w 521261"/>
              <a:gd name="connsiteY36" fmla="*/ 95890 h 465697"/>
              <a:gd name="connsiteX37" fmla="*/ 41091 w 521261"/>
              <a:gd name="connsiteY37" fmla="*/ 101129 h 465697"/>
              <a:gd name="connsiteX38" fmla="*/ 41091 w 521261"/>
              <a:gd name="connsiteY38" fmla="*/ 201362 h 465697"/>
              <a:gd name="connsiteX39" fmla="*/ 67080 w 521261"/>
              <a:gd name="connsiteY39" fmla="*/ 222340 h 465697"/>
              <a:gd name="connsiteX40" fmla="*/ 166876 w 521261"/>
              <a:gd name="connsiteY40" fmla="*/ 200792 h 465697"/>
              <a:gd name="connsiteX41" fmla="*/ 185600 w 521261"/>
              <a:gd name="connsiteY41" fmla="*/ 206208 h 465697"/>
              <a:gd name="connsiteX42" fmla="*/ 191375 w 521261"/>
              <a:gd name="connsiteY42" fmla="*/ 224822 h 465697"/>
              <a:gd name="connsiteX43" fmla="*/ 178496 w 521261"/>
              <a:gd name="connsiteY43" fmla="*/ 290590 h 465697"/>
              <a:gd name="connsiteX44" fmla="*/ 198623 w 521261"/>
              <a:gd name="connsiteY44" fmla="*/ 315041 h 465697"/>
              <a:gd name="connsiteX45" fmla="*/ 215032 w 521261"/>
              <a:gd name="connsiteY45" fmla="*/ 306837 h 465697"/>
              <a:gd name="connsiteX46" fmla="*/ 305443 w 521261"/>
              <a:gd name="connsiteY46" fmla="*/ 186284 h 465697"/>
              <a:gd name="connsiteX47" fmla="*/ 315181 w 521261"/>
              <a:gd name="connsiteY47" fmla="*/ 179187 h 465697"/>
              <a:gd name="connsiteX48" fmla="*/ 468267 w 521261"/>
              <a:gd name="connsiteY48" fmla="*/ 126402 h 465697"/>
              <a:gd name="connsiteX49" fmla="*/ 479518 w 521261"/>
              <a:gd name="connsiteY49" fmla="*/ 115859 h 465697"/>
              <a:gd name="connsiteX50" fmla="*/ 477115 w 521261"/>
              <a:gd name="connsiteY50" fmla="*/ 104522 h 465697"/>
              <a:gd name="connsiteX51" fmla="*/ 378245 w 521261"/>
              <a:gd name="connsiteY51" fmla="*/ 54739 h 465697"/>
              <a:gd name="connsiteX52" fmla="*/ 20545 w 521261"/>
              <a:gd name="connsiteY52" fmla="*/ 424606 h 465697"/>
              <a:gd name="connsiteX53" fmla="*/ 0 w 521261"/>
              <a:gd name="connsiteY53" fmla="*/ 445152 h 465697"/>
              <a:gd name="connsiteX54" fmla="*/ 20545 w 521261"/>
              <a:gd name="connsiteY54" fmla="*/ 465697 h 465697"/>
              <a:gd name="connsiteX55" fmla="*/ 472546 w 521261"/>
              <a:gd name="connsiteY55" fmla="*/ 465697 h 465697"/>
              <a:gd name="connsiteX56" fmla="*/ 493091 w 521261"/>
              <a:gd name="connsiteY56" fmla="*/ 445152 h 465697"/>
              <a:gd name="connsiteX57" fmla="*/ 472546 w 521261"/>
              <a:gd name="connsiteY57" fmla="*/ 424606 h 465697"/>
              <a:gd name="connsiteX58" fmla="*/ 20545 w 521261"/>
              <a:gd name="connsiteY58" fmla="*/ 424606 h 465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521261" h="465697">
                <a:moveTo>
                  <a:pt x="145613" y="120757"/>
                </a:moveTo>
                <a:lnTo>
                  <a:pt x="124468" y="89889"/>
                </a:lnTo>
                <a:cubicBezTo>
                  <a:pt x="98360" y="51775"/>
                  <a:pt x="125651" y="0"/>
                  <a:pt x="171850" y="0"/>
                </a:cubicBezTo>
                <a:cubicBezTo>
                  <a:pt x="185005" y="0"/>
                  <a:pt x="197762" y="4516"/>
                  <a:pt x="207986" y="12793"/>
                </a:cubicBezTo>
                <a:lnTo>
                  <a:pt x="278684" y="70024"/>
                </a:lnTo>
                <a:cubicBezTo>
                  <a:pt x="287163" y="61049"/>
                  <a:pt x="297279" y="51416"/>
                  <a:pt x="308549" y="42725"/>
                </a:cubicBezTo>
                <a:cubicBezTo>
                  <a:pt x="326594" y="28813"/>
                  <a:pt x="349635" y="15729"/>
                  <a:pt x="375089" y="13769"/>
                </a:cubicBezTo>
                <a:cubicBezTo>
                  <a:pt x="436391" y="9049"/>
                  <a:pt x="482180" y="47833"/>
                  <a:pt x="508076" y="77504"/>
                </a:cubicBezTo>
                <a:cubicBezTo>
                  <a:pt x="521463" y="92844"/>
                  <a:pt x="524148" y="112239"/>
                  <a:pt x="518422" y="129082"/>
                </a:cubicBezTo>
                <a:cubicBezTo>
                  <a:pt x="512818" y="145570"/>
                  <a:pt x="499425" y="159124"/>
                  <a:pt x="481663" y="165249"/>
                </a:cubicBezTo>
                <a:lnTo>
                  <a:pt x="334535" y="215979"/>
                </a:lnTo>
                <a:lnTo>
                  <a:pt x="247904" y="331492"/>
                </a:lnTo>
                <a:cubicBezTo>
                  <a:pt x="236270" y="347005"/>
                  <a:pt x="218012" y="356132"/>
                  <a:pt x="198623" y="356132"/>
                </a:cubicBezTo>
                <a:cubicBezTo>
                  <a:pt x="159852" y="356132"/>
                  <a:pt x="130720" y="320745"/>
                  <a:pt x="138171" y="282695"/>
                </a:cubicBezTo>
                <a:lnTo>
                  <a:pt x="145055" y="247543"/>
                </a:lnTo>
                <a:lnTo>
                  <a:pt x="75753" y="262505"/>
                </a:lnTo>
                <a:cubicBezTo>
                  <a:pt x="36788" y="270918"/>
                  <a:pt x="0" y="241226"/>
                  <a:pt x="0" y="201362"/>
                </a:cubicBezTo>
                <a:lnTo>
                  <a:pt x="0" y="101129"/>
                </a:lnTo>
                <a:cubicBezTo>
                  <a:pt x="0" y="75542"/>
                  <a:pt x="20743" y="54799"/>
                  <a:pt x="46330" y="54799"/>
                </a:cubicBezTo>
                <a:cubicBezTo>
                  <a:pt x="63284" y="54799"/>
                  <a:pt x="78884" y="64060"/>
                  <a:pt x="87003" y="78944"/>
                </a:cubicBezTo>
                <a:lnTo>
                  <a:pt x="113463" y="127455"/>
                </a:lnTo>
                <a:lnTo>
                  <a:pt x="145613" y="120757"/>
                </a:lnTo>
                <a:close/>
                <a:moveTo>
                  <a:pt x="158368" y="66667"/>
                </a:moveTo>
                <a:lnTo>
                  <a:pt x="189200" y="111676"/>
                </a:lnTo>
                <a:lnTo>
                  <a:pt x="241212" y="100840"/>
                </a:lnTo>
                <a:cubicBezTo>
                  <a:pt x="243677" y="100327"/>
                  <a:pt x="246118" y="99527"/>
                  <a:pt x="248502" y="98458"/>
                </a:cubicBezTo>
                <a:lnTo>
                  <a:pt x="182132" y="44731"/>
                </a:lnTo>
                <a:cubicBezTo>
                  <a:pt x="179223" y="42376"/>
                  <a:pt x="175593" y="41091"/>
                  <a:pt x="171850" y="41091"/>
                </a:cubicBezTo>
                <a:cubicBezTo>
                  <a:pt x="158705" y="41091"/>
                  <a:pt x="150940" y="55823"/>
                  <a:pt x="158368" y="66667"/>
                </a:cubicBezTo>
                <a:close/>
                <a:moveTo>
                  <a:pt x="378245" y="54739"/>
                </a:moveTo>
                <a:cubicBezTo>
                  <a:pt x="364370" y="55807"/>
                  <a:pt x="348996" y="63427"/>
                  <a:pt x="333639" y="75267"/>
                </a:cubicBezTo>
                <a:cubicBezTo>
                  <a:pt x="318592" y="86869"/>
                  <a:pt x="305489" y="101021"/>
                  <a:pt x="296370" y="112008"/>
                </a:cubicBezTo>
                <a:cubicBezTo>
                  <a:pt x="284862" y="125873"/>
                  <a:pt x="268817" y="137063"/>
                  <a:pt x="249595" y="141068"/>
                </a:cubicBezTo>
                <a:lnTo>
                  <a:pt x="106918" y="170790"/>
                </a:lnTo>
                <a:cubicBezTo>
                  <a:pt x="98054" y="172639"/>
                  <a:pt x="89026" y="168465"/>
                  <a:pt x="84691" y="160516"/>
                </a:cubicBezTo>
                <a:lnTo>
                  <a:pt x="50929" y="98620"/>
                </a:lnTo>
                <a:cubicBezTo>
                  <a:pt x="50011" y="96937"/>
                  <a:pt x="48247" y="95890"/>
                  <a:pt x="46330" y="95890"/>
                </a:cubicBezTo>
                <a:cubicBezTo>
                  <a:pt x="43436" y="95890"/>
                  <a:pt x="41091" y="98236"/>
                  <a:pt x="41091" y="101129"/>
                </a:cubicBezTo>
                <a:lnTo>
                  <a:pt x="41091" y="201362"/>
                </a:lnTo>
                <a:cubicBezTo>
                  <a:pt x="41091" y="215037"/>
                  <a:pt x="53712" y="225225"/>
                  <a:pt x="67080" y="222340"/>
                </a:cubicBezTo>
                <a:lnTo>
                  <a:pt x="166876" y="200792"/>
                </a:lnTo>
                <a:cubicBezTo>
                  <a:pt x="173631" y="199335"/>
                  <a:pt x="180666" y="201370"/>
                  <a:pt x="185600" y="206208"/>
                </a:cubicBezTo>
                <a:cubicBezTo>
                  <a:pt x="190533" y="211046"/>
                  <a:pt x="192703" y="218042"/>
                  <a:pt x="191375" y="224822"/>
                </a:cubicBezTo>
                <a:lnTo>
                  <a:pt x="178496" y="290590"/>
                </a:lnTo>
                <a:cubicBezTo>
                  <a:pt x="176015" y="303259"/>
                  <a:pt x="185715" y="315041"/>
                  <a:pt x="198623" y="315041"/>
                </a:cubicBezTo>
                <a:cubicBezTo>
                  <a:pt x="205079" y="315041"/>
                  <a:pt x="211158" y="312003"/>
                  <a:pt x="215032" y="306837"/>
                </a:cubicBezTo>
                <a:lnTo>
                  <a:pt x="305443" y="186284"/>
                </a:lnTo>
                <a:cubicBezTo>
                  <a:pt x="307905" y="182997"/>
                  <a:pt x="311299" y="180526"/>
                  <a:pt x="315181" y="179187"/>
                </a:cubicBezTo>
                <a:lnTo>
                  <a:pt x="468267" y="126402"/>
                </a:lnTo>
                <a:cubicBezTo>
                  <a:pt x="474392" y="124290"/>
                  <a:pt x="478123" y="119957"/>
                  <a:pt x="479518" y="115859"/>
                </a:cubicBezTo>
                <a:cubicBezTo>
                  <a:pt x="480789" y="112114"/>
                  <a:pt x="480345" y="108222"/>
                  <a:pt x="477115" y="104522"/>
                </a:cubicBezTo>
                <a:cubicBezTo>
                  <a:pt x="453759" y="77759"/>
                  <a:pt x="419634" y="51552"/>
                  <a:pt x="378245" y="54739"/>
                </a:cubicBezTo>
                <a:close/>
                <a:moveTo>
                  <a:pt x="20545" y="424606"/>
                </a:moveTo>
                <a:cubicBezTo>
                  <a:pt x="9199" y="424606"/>
                  <a:pt x="0" y="433805"/>
                  <a:pt x="0" y="445152"/>
                </a:cubicBezTo>
                <a:cubicBezTo>
                  <a:pt x="0" y="456498"/>
                  <a:pt x="9199" y="465697"/>
                  <a:pt x="20545" y="465697"/>
                </a:cubicBezTo>
                <a:lnTo>
                  <a:pt x="472546" y="465697"/>
                </a:lnTo>
                <a:cubicBezTo>
                  <a:pt x="483892" y="465697"/>
                  <a:pt x="493091" y="456498"/>
                  <a:pt x="493091" y="445152"/>
                </a:cubicBezTo>
                <a:cubicBezTo>
                  <a:pt x="493091" y="433805"/>
                  <a:pt x="483892" y="424606"/>
                  <a:pt x="472546" y="424606"/>
                </a:cubicBezTo>
                <a:lnTo>
                  <a:pt x="20545" y="424606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7" name="Graphic 24" descr="Arrow Download&#10;Keyword: fluent-icon;&#10;Metaphor: point, direction, down, vertical;&#10;&#10;Used for downloading content.">
            <a:extLst>
              <a:ext uri="{FF2B5EF4-FFF2-40B4-BE49-F238E27FC236}">
                <a16:creationId xmlns:a16="http://schemas.microsoft.com/office/drawing/2014/main" id="{0D3D4CB1-3F4C-92B1-D134-018783E8F2A6}"/>
              </a:ext>
            </a:extLst>
          </p:cNvPr>
          <p:cNvSpPr/>
          <p:nvPr/>
        </p:nvSpPr>
        <p:spPr>
          <a:xfrm>
            <a:off x="3586261" y="1918286"/>
            <a:ext cx="356121" cy="493091"/>
          </a:xfrm>
          <a:custGeom>
            <a:avLst/>
            <a:gdLst>
              <a:gd name="connsiteX0" fmla="*/ 17121 w 356121"/>
              <a:gd name="connsiteY0" fmla="*/ 458849 h 493091"/>
              <a:gd name="connsiteX1" fmla="*/ 339000 w 356121"/>
              <a:gd name="connsiteY1" fmla="*/ 458849 h 493091"/>
              <a:gd name="connsiteX2" fmla="*/ 356121 w 356121"/>
              <a:gd name="connsiteY2" fmla="*/ 475970 h 493091"/>
              <a:gd name="connsiteX3" fmla="*/ 340751 w 356121"/>
              <a:gd name="connsiteY3" fmla="*/ 493002 h 493091"/>
              <a:gd name="connsiteX4" fmla="*/ 339000 w 356121"/>
              <a:gd name="connsiteY4" fmla="*/ 493091 h 493091"/>
              <a:gd name="connsiteX5" fmla="*/ 17121 w 356121"/>
              <a:gd name="connsiteY5" fmla="*/ 493091 h 493091"/>
              <a:gd name="connsiteX6" fmla="*/ 0 w 356121"/>
              <a:gd name="connsiteY6" fmla="*/ 475970 h 493091"/>
              <a:gd name="connsiteX7" fmla="*/ 15371 w 356121"/>
              <a:gd name="connsiteY7" fmla="*/ 458938 h 493091"/>
              <a:gd name="connsiteX8" fmla="*/ 17121 w 356121"/>
              <a:gd name="connsiteY8" fmla="*/ 458849 h 493091"/>
              <a:gd name="connsiteX9" fmla="*/ 339000 w 356121"/>
              <a:gd name="connsiteY9" fmla="*/ 458849 h 493091"/>
              <a:gd name="connsiteX10" fmla="*/ 17121 w 356121"/>
              <a:gd name="connsiteY10" fmla="*/ 458849 h 493091"/>
              <a:gd name="connsiteX11" fmla="*/ 172886 w 356121"/>
              <a:gd name="connsiteY11" fmla="*/ 88 h 493091"/>
              <a:gd name="connsiteX12" fmla="*/ 174636 w 356121"/>
              <a:gd name="connsiteY12" fmla="*/ 0 h 493091"/>
              <a:gd name="connsiteX13" fmla="*/ 191669 w 356121"/>
              <a:gd name="connsiteY13" fmla="*/ 15371 h 493091"/>
              <a:gd name="connsiteX14" fmla="*/ 191758 w 356121"/>
              <a:gd name="connsiteY14" fmla="*/ 17121 h 493091"/>
              <a:gd name="connsiteX15" fmla="*/ 191758 w 356121"/>
              <a:gd name="connsiteY15" fmla="*/ 349821 h 493091"/>
              <a:gd name="connsiteX16" fmla="*/ 269100 w 356121"/>
              <a:gd name="connsiteY16" fmla="*/ 272492 h 493091"/>
              <a:gd name="connsiteX17" fmla="*/ 293313 w 356121"/>
              <a:gd name="connsiteY17" fmla="*/ 272492 h 493091"/>
              <a:gd name="connsiteX18" fmla="*/ 293313 w 356121"/>
              <a:gd name="connsiteY18" fmla="*/ 296705 h 493091"/>
              <a:gd name="connsiteX19" fmla="*/ 186776 w 356121"/>
              <a:gd name="connsiteY19" fmla="*/ 403242 h 493091"/>
              <a:gd name="connsiteX20" fmla="*/ 162563 w 356121"/>
              <a:gd name="connsiteY20" fmla="*/ 403242 h 493091"/>
              <a:gd name="connsiteX21" fmla="*/ 56025 w 356121"/>
              <a:gd name="connsiteY21" fmla="*/ 296705 h 493091"/>
              <a:gd name="connsiteX22" fmla="*/ 56025 w 356121"/>
              <a:gd name="connsiteY22" fmla="*/ 272492 h 493091"/>
              <a:gd name="connsiteX23" fmla="*/ 80238 w 356121"/>
              <a:gd name="connsiteY23" fmla="*/ 272492 h 493091"/>
              <a:gd name="connsiteX24" fmla="*/ 157515 w 356121"/>
              <a:gd name="connsiteY24" fmla="*/ 349766 h 493091"/>
              <a:gd name="connsiteX25" fmla="*/ 157515 w 356121"/>
              <a:gd name="connsiteY25" fmla="*/ 17121 h 493091"/>
              <a:gd name="connsiteX26" fmla="*/ 172886 w 356121"/>
              <a:gd name="connsiteY26" fmla="*/ 88 h 493091"/>
              <a:gd name="connsiteX27" fmla="*/ 174636 w 356121"/>
              <a:gd name="connsiteY27" fmla="*/ 0 h 493091"/>
              <a:gd name="connsiteX28" fmla="*/ 172886 w 356121"/>
              <a:gd name="connsiteY28" fmla="*/ 88 h 493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356121" h="493091">
                <a:moveTo>
                  <a:pt x="17121" y="458849"/>
                </a:moveTo>
                <a:lnTo>
                  <a:pt x="339000" y="458849"/>
                </a:lnTo>
                <a:cubicBezTo>
                  <a:pt x="348457" y="458849"/>
                  <a:pt x="356121" y="466514"/>
                  <a:pt x="356121" y="475970"/>
                </a:cubicBezTo>
                <a:cubicBezTo>
                  <a:pt x="356121" y="484835"/>
                  <a:pt x="349384" y="492126"/>
                  <a:pt x="340751" y="493002"/>
                </a:cubicBezTo>
                <a:lnTo>
                  <a:pt x="339000" y="493091"/>
                </a:lnTo>
                <a:lnTo>
                  <a:pt x="17121" y="493091"/>
                </a:lnTo>
                <a:cubicBezTo>
                  <a:pt x="7665" y="493091"/>
                  <a:pt x="0" y="485426"/>
                  <a:pt x="0" y="475970"/>
                </a:cubicBezTo>
                <a:cubicBezTo>
                  <a:pt x="0" y="467105"/>
                  <a:pt x="6738" y="459814"/>
                  <a:pt x="15371" y="458938"/>
                </a:cubicBezTo>
                <a:lnTo>
                  <a:pt x="17121" y="458849"/>
                </a:lnTo>
                <a:lnTo>
                  <a:pt x="339000" y="458849"/>
                </a:lnTo>
                <a:lnTo>
                  <a:pt x="17121" y="458849"/>
                </a:lnTo>
                <a:close/>
                <a:moveTo>
                  <a:pt x="172886" y="88"/>
                </a:moveTo>
                <a:lnTo>
                  <a:pt x="174636" y="0"/>
                </a:lnTo>
                <a:cubicBezTo>
                  <a:pt x="183501" y="0"/>
                  <a:pt x="190792" y="6737"/>
                  <a:pt x="191669" y="15371"/>
                </a:cubicBezTo>
                <a:lnTo>
                  <a:pt x="191758" y="17121"/>
                </a:lnTo>
                <a:lnTo>
                  <a:pt x="191758" y="349821"/>
                </a:lnTo>
                <a:lnTo>
                  <a:pt x="269100" y="272492"/>
                </a:lnTo>
                <a:cubicBezTo>
                  <a:pt x="275786" y="265805"/>
                  <a:pt x="286627" y="265805"/>
                  <a:pt x="293313" y="272492"/>
                </a:cubicBezTo>
                <a:cubicBezTo>
                  <a:pt x="299999" y="279177"/>
                  <a:pt x="299999" y="290018"/>
                  <a:pt x="293313" y="296705"/>
                </a:cubicBezTo>
                <a:lnTo>
                  <a:pt x="186776" y="403242"/>
                </a:lnTo>
                <a:cubicBezTo>
                  <a:pt x="180089" y="409929"/>
                  <a:pt x="169249" y="409929"/>
                  <a:pt x="162563" y="403242"/>
                </a:cubicBezTo>
                <a:lnTo>
                  <a:pt x="56025" y="296705"/>
                </a:lnTo>
                <a:cubicBezTo>
                  <a:pt x="49339" y="290018"/>
                  <a:pt x="49339" y="279177"/>
                  <a:pt x="56025" y="272492"/>
                </a:cubicBezTo>
                <a:cubicBezTo>
                  <a:pt x="62712" y="265805"/>
                  <a:pt x="73551" y="265805"/>
                  <a:pt x="80238" y="272492"/>
                </a:cubicBezTo>
                <a:lnTo>
                  <a:pt x="157515" y="349766"/>
                </a:lnTo>
                <a:lnTo>
                  <a:pt x="157515" y="17121"/>
                </a:lnTo>
                <a:cubicBezTo>
                  <a:pt x="157515" y="8256"/>
                  <a:pt x="164253" y="965"/>
                  <a:pt x="172886" y="88"/>
                </a:cubicBezTo>
                <a:lnTo>
                  <a:pt x="174636" y="0"/>
                </a:lnTo>
                <a:lnTo>
                  <a:pt x="172886" y="88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1369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8" name="Graphic 26" descr="Arrow Clockwise&#10;Keyword: fluent-icon;&#10;Metaphor: arrow, point, direction, circle;&#10;&#10;Used for loading, retry, &amp; skip actions.">
            <a:extLst>
              <a:ext uri="{FF2B5EF4-FFF2-40B4-BE49-F238E27FC236}">
                <a16:creationId xmlns:a16="http://schemas.microsoft.com/office/drawing/2014/main" id="{35027499-7347-65BE-0481-408563DFDDA3}"/>
              </a:ext>
            </a:extLst>
          </p:cNvPr>
          <p:cNvSpPr/>
          <p:nvPr/>
        </p:nvSpPr>
        <p:spPr>
          <a:xfrm>
            <a:off x="4444637" y="1918286"/>
            <a:ext cx="493091" cy="493091"/>
          </a:xfrm>
          <a:custGeom>
            <a:avLst/>
            <a:gdLst>
              <a:gd name="connsiteX0" fmla="*/ 246546 w 493091"/>
              <a:gd name="connsiteY0" fmla="*/ 458849 h 493091"/>
              <a:gd name="connsiteX1" fmla="*/ 458849 w 493091"/>
              <a:gd name="connsiteY1" fmla="*/ 246546 h 493091"/>
              <a:gd name="connsiteX2" fmla="*/ 457687 w 493091"/>
              <a:gd name="connsiteY2" fmla="*/ 224200 h 493091"/>
              <a:gd name="connsiteX3" fmla="*/ 473837 w 493091"/>
              <a:gd name="connsiteY3" fmla="*/ 205455 h 493091"/>
              <a:gd name="connsiteX4" fmla="*/ 491800 w 493091"/>
              <a:gd name="connsiteY4" fmla="*/ 221156 h 493091"/>
              <a:gd name="connsiteX5" fmla="*/ 493091 w 493091"/>
              <a:gd name="connsiteY5" fmla="*/ 246546 h 493091"/>
              <a:gd name="connsiteX6" fmla="*/ 246546 w 493091"/>
              <a:gd name="connsiteY6" fmla="*/ 493091 h 493091"/>
              <a:gd name="connsiteX7" fmla="*/ 0 w 493091"/>
              <a:gd name="connsiteY7" fmla="*/ 246546 h 493091"/>
              <a:gd name="connsiteX8" fmla="*/ 246546 w 493091"/>
              <a:gd name="connsiteY8" fmla="*/ 0 h 493091"/>
              <a:gd name="connsiteX9" fmla="*/ 417758 w 493091"/>
              <a:gd name="connsiteY9" fmla="*/ 69144 h 493091"/>
              <a:gd name="connsiteX10" fmla="*/ 417758 w 493091"/>
              <a:gd name="connsiteY10" fmla="*/ 30818 h 493091"/>
              <a:gd name="connsiteX11" fmla="*/ 434879 w 493091"/>
              <a:gd name="connsiteY11" fmla="*/ 13697 h 493091"/>
              <a:gd name="connsiteX12" fmla="*/ 452000 w 493091"/>
              <a:gd name="connsiteY12" fmla="*/ 30818 h 493091"/>
              <a:gd name="connsiteX13" fmla="*/ 452000 w 493091"/>
              <a:gd name="connsiteY13" fmla="*/ 119849 h 493091"/>
              <a:gd name="connsiteX14" fmla="*/ 434879 w 493091"/>
              <a:gd name="connsiteY14" fmla="*/ 136970 h 493091"/>
              <a:gd name="connsiteX15" fmla="*/ 345849 w 493091"/>
              <a:gd name="connsiteY15" fmla="*/ 136970 h 493091"/>
              <a:gd name="connsiteX16" fmla="*/ 328728 w 493091"/>
              <a:gd name="connsiteY16" fmla="*/ 119849 h 493091"/>
              <a:gd name="connsiteX17" fmla="*/ 345849 w 493091"/>
              <a:gd name="connsiteY17" fmla="*/ 102727 h 493091"/>
              <a:gd name="connsiteX18" fmla="*/ 402717 w 493091"/>
              <a:gd name="connsiteY18" fmla="*/ 102727 h 493091"/>
              <a:gd name="connsiteX19" fmla="*/ 246546 w 493091"/>
              <a:gd name="connsiteY19" fmla="*/ 34242 h 493091"/>
              <a:gd name="connsiteX20" fmla="*/ 34242 w 493091"/>
              <a:gd name="connsiteY20" fmla="*/ 246546 h 493091"/>
              <a:gd name="connsiteX21" fmla="*/ 246546 w 493091"/>
              <a:gd name="connsiteY21" fmla="*/ 458849 h 493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493091" h="493091">
                <a:moveTo>
                  <a:pt x="246546" y="458849"/>
                </a:moveTo>
                <a:cubicBezTo>
                  <a:pt x="363797" y="458849"/>
                  <a:pt x="458849" y="363797"/>
                  <a:pt x="458849" y="246546"/>
                </a:cubicBezTo>
                <a:cubicBezTo>
                  <a:pt x="458849" y="238999"/>
                  <a:pt x="458456" y="231543"/>
                  <a:pt x="457687" y="224200"/>
                </a:cubicBezTo>
                <a:cubicBezTo>
                  <a:pt x="456666" y="214430"/>
                  <a:pt x="464014" y="205455"/>
                  <a:pt x="473837" y="205455"/>
                </a:cubicBezTo>
                <a:cubicBezTo>
                  <a:pt x="482983" y="205455"/>
                  <a:pt x="490868" y="212057"/>
                  <a:pt x="491800" y="221156"/>
                </a:cubicBezTo>
                <a:cubicBezTo>
                  <a:pt x="492654" y="229502"/>
                  <a:pt x="493091" y="237973"/>
                  <a:pt x="493091" y="246546"/>
                </a:cubicBezTo>
                <a:cubicBezTo>
                  <a:pt x="493091" y="382709"/>
                  <a:pt x="382709" y="493091"/>
                  <a:pt x="246546" y="493091"/>
                </a:cubicBezTo>
                <a:cubicBezTo>
                  <a:pt x="110383" y="493091"/>
                  <a:pt x="0" y="382709"/>
                  <a:pt x="0" y="246546"/>
                </a:cubicBezTo>
                <a:cubicBezTo>
                  <a:pt x="0" y="110383"/>
                  <a:pt x="110383" y="0"/>
                  <a:pt x="246546" y="0"/>
                </a:cubicBezTo>
                <a:cubicBezTo>
                  <a:pt x="313053" y="0"/>
                  <a:pt x="373410" y="26334"/>
                  <a:pt x="417758" y="69144"/>
                </a:cubicBezTo>
                <a:lnTo>
                  <a:pt x="417758" y="30818"/>
                </a:lnTo>
                <a:cubicBezTo>
                  <a:pt x="417758" y="21362"/>
                  <a:pt x="425423" y="13697"/>
                  <a:pt x="434879" y="13697"/>
                </a:cubicBezTo>
                <a:cubicBezTo>
                  <a:pt x="444335" y="13697"/>
                  <a:pt x="452000" y="21362"/>
                  <a:pt x="452000" y="30818"/>
                </a:cubicBezTo>
                <a:lnTo>
                  <a:pt x="452000" y="119849"/>
                </a:lnTo>
                <a:cubicBezTo>
                  <a:pt x="452000" y="129305"/>
                  <a:pt x="444335" y="136970"/>
                  <a:pt x="434879" y="136970"/>
                </a:cubicBezTo>
                <a:lnTo>
                  <a:pt x="345849" y="136970"/>
                </a:lnTo>
                <a:cubicBezTo>
                  <a:pt x="336392" y="136970"/>
                  <a:pt x="328728" y="129305"/>
                  <a:pt x="328728" y="119849"/>
                </a:cubicBezTo>
                <a:cubicBezTo>
                  <a:pt x="328728" y="110392"/>
                  <a:pt x="336392" y="102727"/>
                  <a:pt x="345849" y="102727"/>
                </a:cubicBezTo>
                <a:lnTo>
                  <a:pt x="402717" y="102727"/>
                </a:lnTo>
                <a:cubicBezTo>
                  <a:pt x="363921" y="60621"/>
                  <a:pt x="308314" y="34242"/>
                  <a:pt x="246546" y="34242"/>
                </a:cubicBezTo>
                <a:cubicBezTo>
                  <a:pt x="129294" y="34242"/>
                  <a:pt x="34242" y="129294"/>
                  <a:pt x="34242" y="246546"/>
                </a:cubicBezTo>
                <a:cubicBezTo>
                  <a:pt x="34242" y="363797"/>
                  <a:pt x="129294" y="458849"/>
                  <a:pt x="246546" y="458849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1369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9" name="Graphic 28" descr="&#10;Keyword: fluent-icon;&#10;Metaphor: checkmark, arrow clockwise, teams;&#10;&#10;Used for Approvals app in Teams.">
            <a:extLst>
              <a:ext uri="{FF2B5EF4-FFF2-40B4-BE49-F238E27FC236}">
                <a16:creationId xmlns:a16="http://schemas.microsoft.com/office/drawing/2014/main" id="{81ABFBE7-329A-2C7D-7726-C512DCC1C808}"/>
              </a:ext>
            </a:extLst>
          </p:cNvPr>
          <p:cNvSpPr/>
          <p:nvPr/>
        </p:nvSpPr>
        <p:spPr>
          <a:xfrm>
            <a:off x="5355257" y="1836104"/>
            <a:ext cx="534182" cy="616364"/>
          </a:xfrm>
          <a:custGeom>
            <a:avLst/>
            <a:gdLst>
              <a:gd name="connsiteX0" fmla="*/ 240528 w 534182"/>
              <a:gd name="connsiteY0" fmla="*/ 6018 h 616364"/>
              <a:gd name="connsiteX1" fmla="*/ 211472 w 534182"/>
              <a:gd name="connsiteY1" fmla="*/ 6018 h 616364"/>
              <a:gd name="connsiteX2" fmla="*/ 211472 w 534182"/>
              <a:gd name="connsiteY2" fmla="*/ 35073 h 616364"/>
              <a:gd name="connsiteX3" fmla="*/ 258711 w 534182"/>
              <a:gd name="connsiteY3" fmla="*/ 82311 h 616364"/>
              <a:gd name="connsiteX4" fmla="*/ 0 w 534182"/>
              <a:gd name="connsiteY4" fmla="*/ 349273 h 616364"/>
              <a:gd name="connsiteX5" fmla="*/ 267091 w 534182"/>
              <a:gd name="connsiteY5" fmla="*/ 616364 h 616364"/>
              <a:gd name="connsiteX6" fmla="*/ 534182 w 534182"/>
              <a:gd name="connsiteY6" fmla="*/ 349273 h 616364"/>
              <a:gd name="connsiteX7" fmla="*/ 534178 w 534182"/>
              <a:gd name="connsiteY7" fmla="*/ 347617 h 616364"/>
              <a:gd name="connsiteX8" fmla="*/ 514493 w 534182"/>
              <a:gd name="connsiteY8" fmla="*/ 328728 h 616364"/>
              <a:gd name="connsiteX9" fmla="*/ 512743 w 534182"/>
              <a:gd name="connsiteY9" fmla="*/ 328728 h 616364"/>
              <a:gd name="connsiteX10" fmla="*/ 493091 w 534182"/>
              <a:gd name="connsiteY10" fmla="*/ 349273 h 616364"/>
              <a:gd name="connsiteX11" fmla="*/ 267091 w 534182"/>
              <a:gd name="connsiteY11" fmla="*/ 575273 h 616364"/>
              <a:gd name="connsiteX12" fmla="*/ 41091 w 534182"/>
              <a:gd name="connsiteY12" fmla="*/ 349273 h 616364"/>
              <a:gd name="connsiteX13" fmla="*/ 258417 w 534182"/>
              <a:gd name="connsiteY13" fmla="*/ 123436 h 616364"/>
              <a:gd name="connsiteX14" fmla="*/ 211472 w 534182"/>
              <a:gd name="connsiteY14" fmla="*/ 170381 h 616364"/>
              <a:gd name="connsiteX15" fmla="*/ 211472 w 534182"/>
              <a:gd name="connsiteY15" fmla="*/ 199437 h 616364"/>
              <a:gd name="connsiteX16" fmla="*/ 240528 w 534182"/>
              <a:gd name="connsiteY16" fmla="*/ 199437 h 616364"/>
              <a:gd name="connsiteX17" fmla="*/ 322710 w 534182"/>
              <a:gd name="connsiteY17" fmla="*/ 117255 h 616364"/>
              <a:gd name="connsiteX18" fmla="*/ 322710 w 534182"/>
              <a:gd name="connsiteY18" fmla="*/ 88199 h 616364"/>
              <a:gd name="connsiteX19" fmla="*/ 240528 w 534182"/>
              <a:gd name="connsiteY19" fmla="*/ 6018 h 616364"/>
              <a:gd name="connsiteX20" fmla="*/ 404892 w 534182"/>
              <a:gd name="connsiteY20" fmla="*/ 252563 h 616364"/>
              <a:gd name="connsiteX21" fmla="*/ 404892 w 534182"/>
              <a:gd name="connsiteY21" fmla="*/ 281619 h 616364"/>
              <a:gd name="connsiteX22" fmla="*/ 281619 w 534182"/>
              <a:gd name="connsiteY22" fmla="*/ 404892 h 616364"/>
              <a:gd name="connsiteX23" fmla="*/ 252563 w 534182"/>
              <a:gd name="connsiteY23" fmla="*/ 404892 h 616364"/>
              <a:gd name="connsiteX24" fmla="*/ 190927 w 534182"/>
              <a:gd name="connsiteY24" fmla="*/ 343255 h 616364"/>
              <a:gd name="connsiteX25" fmla="*/ 190927 w 534182"/>
              <a:gd name="connsiteY25" fmla="*/ 314200 h 616364"/>
              <a:gd name="connsiteX26" fmla="*/ 219982 w 534182"/>
              <a:gd name="connsiteY26" fmla="*/ 314200 h 616364"/>
              <a:gd name="connsiteX27" fmla="*/ 267091 w 534182"/>
              <a:gd name="connsiteY27" fmla="*/ 361309 h 616364"/>
              <a:gd name="connsiteX28" fmla="*/ 375836 w 534182"/>
              <a:gd name="connsiteY28" fmla="*/ 252563 h 616364"/>
              <a:gd name="connsiteX29" fmla="*/ 404892 w 534182"/>
              <a:gd name="connsiteY29" fmla="*/ 252563 h 616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534182" h="616364">
                <a:moveTo>
                  <a:pt x="240528" y="6018"/>
                </a:moveTo>
                <a:cubicBezTo>
                  <a:pt x="232505" y="-2006"/>
                  <a:pt x="219495" y="-2006"/>
                  <a:pt x="211472" y="6018"/>
                </a:cubicBezTo>
                <a:cubicBezTo>
                  <a:pt x="203449" y="14041"/>
                  <a:pt x="203449" y="27050"/>
                  <a:pt x="211472" y="35073"/>
                </a:cubicBezTo>
                <a:lnTo>
                  <a:pt x="258711" y="82311"/>
                </a:lnTo>
                <a:cubicBezTo>
                  <a:pt x="115078" y="86738"/>
                  <a:pt x="0" y="204567"/>
                  <a:pt x="0" y="349273"/>
                </a:cubicBezTo>
                <a:cubicBezTo>
                  <a:pt x="0" y="496783"/>
                  <a:pt x="119581" y="616364"/>
                  <a:pt x="267091" y="616364"/>
                </a:cubicBezTo>
                <a:cubicBezTo>
                  <a:pt x="414601" y="616364"/>
                  <a:pt x="534182" y="496783"/>
                  <a:pt x="534182" y="349273"/>
                </a:cubicBezTo>
                <a:cubicBezTo>
                  <a:pt x="534182" y="348720"/>
                  <a:pt x="534180" y="348170"/>
                  <a:pt x="534178" y="347617"/>
                </a:cubicBezTo>
                <a:cubicBezTo>
                  <a:pt x="534112" y="336950"/>
                  <a:pt x="525163" y="328728"/>
                  <a:pt x="514493" y="328728"/>
                </a:cubicBezTo>
                <a:lnTo>
                  <a:pt x="512743" y="328728"/>
                </a:lnTo>
                <a:cubicBezTo>
                  <a:pt x="501692" y="328728"/>
                  <a:pt x="493091" y="338222"/>
                  <a:pt x="493091" y="349273"/>
                </a:cubicBezTo>
                <a:cubicBezTo>
                  <a:pt x="493091" y="474089"/>
                  <a:pt x="391907" y="575273"/>
                  <a:pt x="267091" y="575273"/>
                </a:cubicBezTo>
                <a:cubicBezTo>
                  <a:pt x="142275" y="575273"/>
                  <a:pt x="41091" y="474089"/>
                  <a:pt x="41091" y="349273"/>
                </a:cubicBezTo>
                <a:cubicBezTo>
                  <a:pt x="41091" y="227360"/>
                  <a:pt x="137621" y="127994"/>
                  <a:pt x="258417" y="123436"/>
                </a:cubicBezTo>
                <a:lnTo>
                  <a:pt x="211472" y="170381"/>
                </a:lnTo>
                <a:cubicBezTo>
                  <a:pt x="203449" y="178405"/>
                  <a:pt x="203449" y="191414"/>
                  <a:pt x="211472" y="199437"/>
                </a:cubicBezTo>
                <a:cubicBezTo>
                  <a:pt x="219495" y="207460"/>
                  <a:pt x="232505" y="207460"/>
                  <a:pt x="240528" y="199437"/>
                </a:cubicBezTo>
                <a:lnTo>
                  <a:pt x="322710" y="117255"/>
                </a:lnTo>
                <a:cubicBezTo>
                  <a:pt x="330733" y="109232"/>
                  <a:pt x="330733" y="96223"/>
                  <a:pt x="322710" y="88199"/>
                </a:cubicBezTo>
                <a:lnTo>
                  <a:pt x="240528" y="6018"/>
                </a:lnTo>
                <a:close/>
                <a:moveTo>
                  <a:pt x="404892" y="252563"/>
                </a:moveTo>
                <a:cubicBezTo>
                  <a:pt x="412915" y="260586"/>
                  <a:pt x="412915" y="273596"/>
                  <a:pt x="404892" y="281619"/>
                </a:cubicBezTo>
                <a:lnTo>
                  <a:pt x="281619" y="404892"/>
                </a:lnTo>
                <a:cubicBezTo>
                  <a:pt x="273596" y="412915"/>
                  <a:pt x="260586" y="412915"/>
                  <a:pt x="252563" y="404892"/>
                </a:cubicBezTo>
                <a:lnTo>
                  <a:pt x="190927" y="343255"/>
                </a:lnTo>
                <a:cubicBezTo>
                  <a:pt x="182904" y="335232"/>
                  <a:pt x="182904" y="322223"/>
                  <a:pt x="190927" y="314200"/>
                </a:cubicBezTo>
                <a:cubicBezTo>
                  <a:pt x="198950" y="306177"/>
                  <a:pt x="211959" y="306177"/>
                  <a:pt x="219982" y="314200"/>
                </a:cubicBezTo>
                <a:lnTo>
                  <a:pt x="267091" y="361309"/>
                </a:lnTo>
                <a:lnTo>
                  <a:pt x="375836" y="252563"/>
                </a:lnTo>
                <a:cubicBezTo>
                  <a:pt x="383859" y="244540"/>
                  <a:pt x="396869" y="244540"/>
                  <a:pt x="404892" y="252563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2053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0" name="Graphic 46" descr="Clock&#10;Keyword: fluent-icon;&#10;Metaphor: time, watch, analog;&#10;&#10;Used in time scenarios.">
            <a:extLst>
              <a:ext uri="{FF2B5EF4-FFF2-40B4-BE49-F238E27FC236}">
                <a16:creationId xmlns:a16="http://schemas.microsoft.com/office/drawing/2014/main" id="{C20E3F7C-2E8F-B8D9-AE05-F5C937D3F8A0}"/>
              </a:ext>
            </a:extLst>
          </p:cNvPr>
          <p:cNvSpPr/>
          <p:nvPr/>
        </p:nvSpPr>
        <p:spPr>
          <a:xfrm>
            <a:off x="6284787" y="1893027"/>
            <a:ext cx="543611" cy="543611"/>
          </a:xfrm>
          <a:custGeom>
            <a:avLst/>
            <a:gdLst>
              <a:gd name="connsiteX0" fmla="*/ 271806 w 543611"/>
              <a:gd name="connsiteY0" fmla="*/ 0 h 543611"/>
              <a:gd name="connsiteX1" fmla="*/ 543611 w 543611"/>
              <a:gd name="connsiteY1" fmla="*/ 271806 h 543611"/>
              <a:gd name="connsiteX2" fmla="*/ 271806 w 543611"/>
              <a:gd name="connsiteY2" fmla="*/ 543611 h 543611"/>
              <a:gd name="connsiteX3" fmla="*/ 0 w 543611"/>
              <a:gd name="connsiteY3" fmla="*/ 271806 h 543611"/>
              <a:gd name="connsiteX4" fmla="*/ 271806 w 543611"/>
              <a:gd name="connsiteY4" fmla="*/ 0 h 543611"/>
              <a:gd name="connsiteX5" fmla="*/ 271806 w 543611"/>
              <a:gd name="connsiteY5" fmla="*/ 35764 h 543611"/>
              <a:gd name="connsiteX6" fmla="*/ 35764 w 543611"/>
              <a:gd name="connsiteY6" fmla="*/ 271806 h 543611"/>
              <a:gd name="connsiteX7" fmla="*/ 271806 w 543611"/>
              <a:gd name="connsiteY7" fmla="*/ 507847 h 543611"/>
              <a:gd name="connsiteX8" fmla="*/ 507847 w 543611"/>
              <a:gd name="connsiteY8" fmla="*/ 271806 h 543611"/>
              <a:gd name="connsiteX9" fmla="*/ 271806 w 543611"/>
              <a:gd name="connsiteY9" fmla="*/ 35764 h 543611"/>
              <a:gd name="connsiteX10" fmla="*/ 253924 w 543611"/>
              <a:gd name="connsiteY10" fmla="*/ 100139 h 543611"/>
              <a:gd name="connsiteX11" fmla="*/ 271713 w 543611"/>
              <a:gd name="connsiteY11" fmla="*/ 116193 h 543611"/>
              <a:gd name="connsiteX12" fmla="*/ 271806 w 543611"/>
              <a:gd name="connsiteY12" fmla="*/ 118021 h 543611"/>
              <a:gd name="connsiteX13" fmla="*/ 271806 w 543611"/>
              <a:gd name="connsiteY13" fmla="*/ 271806 h 543611"/>
              <a:gd name="connsiteX14" fmla="*/ 368368 w 543611"/>
              <a:gd name="connsiteY14" fmla="*/ 271806 h 543611"/>
              <a:gd name="connsiteX15" fmla="*/ 386250 w 543611"/>
              <a:gd name="connsiteY15" fmla="*/ 289687 h 543611"/>
              <a:gd name="connsiteX16" fmla="*/ 370196 w 543611"/>
              <a:gd name="connsiteY16" fmla="*/ 307476 h 543611"/>
              <a:gd name="connsiteX17" fmla="*/ 368368 w 543611"/>
              <a:gd name="connsiteY17" fmla="*/ 307569 h 543611"/>
              <a:gd name="connsiteX18" fmla="*/ 253924 w 543611"/>
              <a:gd name="connsiteY18" fmla="*/ 307569 h 543611"/>
              <a:gd name="connsiteX19" fmla="*/ 236135 w 543611"/>
              <a:gd name="connsiteY19" fmla="*/ 291516 h 543611"/>
              <a:gd name="connsiteX20" fmla="*/ 236042 w 543611"/>
              <a:gd name="connsiteY20" fmla="*/ 289687 h 543611"/>
              <a:gd name="connsiteX21" fmla="*/ 236042 w 543611"/>
              <a:gd name="connsiteY21" fmla="*/ 118021 h 543611"/>
              <a:gd name="connsiteX22" fmla="*/ 253924 w 543611"/>
              <a:gd name="connsiteY22" fmla="*/ 100139 h 5436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543611" h="543611">
                <a:moveTo>
                  <a:pt x="271806" y="0"/>
                </a:moveTo>
                <a:cubicBezTo>
                  <a:pt x="421919" y="0"/>
                  <a:pt x="543611" y="121691"/>
                  <a:pt x="543611" y="271806"/>
                </a:cubicBezTo>
                <a:cubicBezTo>
                  <a:pt x="543611" y="421919"/>
                  <a:pt x="421919" y="543611"/>
                  <a:pt x="271806" y="543611"/>
                </a:cubicBezTo>
                <a:cubicBezTo>
                  <a:pt x="121691" y="543611"/>
                  <a:pt x="0" y="421919"/>
                  <a:pt x="0" y="271806"/>
                </a:cubicBezTo>
                <a:cubicBezTo>
                  <a:pt x="0" y="121691"/>
                  <a:pt x="121691" y="0"/>
                  <a:pt x="271806" y="0"/>
                </a:cubicBezTo>
                <a:close/>
                <a:moveTo>
                  <a:pt x="271806" y="35764"/>
                </a:moveTo>
                <a:cubicBezTo>
                  <a:pt x="141443" y="35764"/>
                  <a:pt x="35764" y="141443"/>
                  <a:pt x="35764" y="271806"/>
                </a:cubicBezTo>
                <a:cubicBezTo>
                  <a:pt x="35764" y="402168"/>
                  <a:pt x="141443" y="507847"/>
                  <a:pt x="271806" y="507847"/>
                </a:cubicBezTo>
                <a:cubicBezTo>
                  <a:pt x="402168" y="507847"/>
                  <a:pt x="507847" y="402168"/>
                  <a:pt x="507847" y="271806"/>
                </a:cubicBezTo>
                <a:cubicBezTo>
                  <a:pt x="507847" y="141443"/>
                  <a:pt x="402168" y="35764"/>
                  <a:pt x="271806" y="35764"/>
                </a:cubicBezTo>
                <a:close/>
                <a:moveTo>
                  <a:pt x="253924" y="100139"/>
                </a:moveTo>
                <a:cubicBezTo>
                  <a:pt x="263182" y="100139"/>
                  <a:pt x="270797" y="107175"/>
                  <a:pt x="271713" y="116193"/>
                </a:cubicBezTo>
                <a:lnTo>
                  <a:pt x="271806" y="118021"/>
                </a:lnTo>
                <a:lnTo>
                  <a:pt x="271806" y="271806"/>
                </a:lnTo>
                <a:lnTo>
                  <a:pt x="368368" y="271806"/>
                </a:lnTo>
                <a:cubicBezTo>
                  <a:pt x="378245" y="271806"/>
                  <a:pt x="386250" y="279811"/>
                  <a:pt x="386250" y="289687"/>
                </a:cubicBezTo>
                <a:cubicBezTo>
                  <a:pt x="386250" y="298946"/>
                  <a:pt x="379213" y="306561"/>
                  <a:pt x="370196" y="307476"/>
                </a:cubicBezTo>
                <a:lnTo>
                  <a:pt x="368368" y="307569"/>
                </a:lnTo>
                <a:lnTo>
                  <a:pt x="253924" y="307569"/>
                </a:lnTo>
                <a:cubicBezTo>
                  <a:pt x="244665" y="307569"/>
                  <a:pt x="237050" y="300533"/>
                  <a:pt x="236135" y="291516"/>
                </a:cubicBezTo>
                <a:lnTo>
                  <a:pt x="236042" y="289687"/>
                </a:lnTo>
                <a:lnTo>
                  <a:pt x="236042" y="118021"/>
                </a:lnTo>
                <a:cubicBezTo>
                  <a:pt x="236042" y="108145"/>
                  <a:pt x="244047" y="100139"/>
                  <a:pt x="253924" y="100139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142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1" name="Graphic 34" descr="Book &#10;Keyword: fluent-icon, word, excel, powerpoint;&#10;Metaphor: Read, formulas;&#10;&#10;Used in general book scenarios and in formulas. Contains cover variants.">
            <a:extLst>
              <a:ext uri="{FF2B5EF4-FFF2-40B4-BE49-F238E27FC236}">
                <a16:creationId xmlns:a16="http://schemas.microsoft.com/office/drawing/2014/main" id="{33A9F8D6-9CBA-5C4B-AD25-E31CBC62C23E}"/>
              </a:ext>
            </a:extLst>
          </p:cNvPr>
          <p:cNvSpPr/>
          <p:nvPr/>
        </p:nvSpPr>
        <p:spPr>
          <a:xfrm>
            <a:off x="7280149" y="1890892"/>
            <a:ext cx="452000" cy="547879"/>
          </a:xfrm>
          <a:custGeom>
            <a:avLst/>
            <a:gdLst>
              <a:gd name="connsiteX0" fmla="*/ 169771 w 452000"/>
              <a:gd name="connsiteY0" fmla="*/ 149678 h 547879"/>
              <a:gd name="connsiteX1" fmla="*/ 232849 w 452000"/>
              <a:gd name="connsiteY1" fmla="*/ 136970 h 547879"/>
              <a:gd name="connsiteX2" fmla="*/ 295926 w 452000"/>
              <a:gd name="connsiteY2" fmla="*/ 149678 h 547879"/>
              <a:gd name="connsiteX3" fmla="*/ 328728 w 452000"/>
              <a:gd name="connsiteY3" fmla="*/ 191758 h 547879"/>
              <a:gd name="connsiteX4" fmla="*/ 295926 w 452000"/>
              <a:gd name="connsiteY4" fmla="*/ 233838 h 547879"/>
              <a:gd name="connsiteX5" fmla="*/ 232849 w 452000"/>
              <a:gd name="connsiteY5" fmla="*/ 246546 h 547879"/>
              <a:gd name="connsiteX6" fmla="*/ 169771 w 452000"/>
              <a:gd name="connsiteY6" fmla="*/ 233838 h 547879"/>
              <a:gd name="connsiteX7" fmla="*/ 136970 w 452000"/>
              <a:gd name="connsiteY7" fmla="*/ 191758 h 547879"/>
              <a:gd name="connsiteX8" fmla="*/ 169771 w 452000"/>
              <a:gd name="connsiteY8" fmla="*/ 149678 h 547879"/>
              <a:gd name="connsiteX9" fmla="*/ 184545 w 452000"/>
              <a:gd name="connsiteY9" fmla="*/ 180569 h 547879"/>
              <a:gd name="connsiteX10" fmla="*/ 171212 w 452000"/>
              <a:gd name="connsiteY10" fmla="*/ 191758 h 547879"/>
              <a:gd name="connsiteX11" fmla="*/ 184545 w 452000"/>
              <a:gd name="connsiteY11" fmla="*/ 202946 h 547879"/>
              <a:gd name="connsiteX12" fmla="*/ 232849 w 452000"/>
              <a:gd name="connsiteY12" fmla="*/ 212303 h 547879"/>
              <a:gd name="connsiteX13" fmla="*/ 281152 w 452000"/>
              <a:gd name="connsiteY13" fmla="*/ 202946 h 547879"/>
              <a:gd name="connsiteX14" fmla="*/ 294485 w 452000"/>
              <a:gd name="connsiteY14" fmla="*/ 191758 h 547879"/>
              <a:gd name="connsiteX15" fmla="*/ 281152 w 452000"/>
              <a:gd name="connsiteY15" fmla="*/ 180569 h 547879"/>
              <a:gd name="connsiteX16" fmla="*/ 232849 w 452000"/>
              <a:gd name="connsiteY16" fmla="*/ 171212 h 547879"/>
              <a:gd name="connsiteX17" fmla="*/ 184545 w 452000"/>
              <a:gd name="connsiteY17" fmla="*/ 180569 h 547879"/>
              <a:gd name="connsiteX18" fmla="*/ 232849 w 452000"/>
              <a:gd name="connsiteY18" fmla="*/ 273942 h 547879"/>
              <a:gd name="connsiteX19" fmla="*/ 328585 w 452000"/>
              <a:gd name="connsiteY19" fmla="*/ 243535 h 547879"/>
              <a:gd name="connsiteX20" fmla="*/ 328728 w 452000"/>
              <a:gd name="connsiteY20" fmla="*/ 246554 h 547879"/>
              <a:gd name="connsiteX21" fmla="*/ 232849 w 452000"/>
              <a:gd name="connsiteY21" fmla="*/ 301342 h 547879"/>
              <a:gd name="connsiteX22" fmla="*/ 136970 w 452000"/>
              <a:gd name="connsiteY22" fmla="*/ 246554 h 547879"/>
              <a:gd name="connsiteX23" fmla="*/ 137113 w 452000"/>
              <a:gd name="connsiteY23" fmla="*/ 243535 h 547879"/>
              <a:gd name="connsiteX24" fmla="*/ 232849 w 452000"/>
              <a:gd name="connsiteY24" fmla="*/ 273942 h 547879"/>
              <a:gd name="connsiteX25" fmla="*/ 232849 w 452000"/>
              <a:gd name="connsiteY25" fmla="*/ 328730 h 547879"/>
              <a:gd name="connsiteX26" fmla="*/ 328585 w 452000"/>
              <a:gd name="connsiteY26" fmla="*/ 298323 h 547879"/>
              <a:gd name="connsiteX27" fmla="*/ 328728 w 452000"/>
              <a:gd name="connsiteY27" fmla="*/ 301336 h 547879"/>
              <a:gd name="connsiteX28" fmla="*/ 232849 w 452000"/>
              <a:gd name="connsiteY28" fmla="*/ 356124 h 547879"/>
              <a:gd name="connsiteX29" fmla="*/ 136970 w 452000"/>
              <a:gd name="connsiteY29" fmla="*/ 301336 h 547879"/>
              <a:gd name="connsiteX30" fmla="*/ 137112 w 452000"/>
              <a:gd name="connsiteY30" fmla="*/ 298323 h 547879"/>
              <a:gd name="connsiteX31" fmla="*/ 232849 w 452000"/>
              <a:gd name="connsiteY31" fmla="*/ 328730 h 547879"/>
              <a:gd name="connsiteX32" fmla="*/ 68485 w 452000"/>
              <a:gd name="connsiteY32" fmla="*/ 0 h 547879"/>
              <a:gd name="connsiteX33" fmla="*/ 0 w 452000"/>
              <a:gd name="connsiteY33" fmla="*/ 68485 h 547879"/>
              <a:gd name="connsiteX34" fmla="*/ 0 w 452000"/>
              <a:gd name="connsiteY34" fmla="*/ 479394 h 547879"/>
              <a:gd name="connsiteX35" fmla="*/ 68485 w 452000"/>
              <a:gd name="connsiteY35" fmla="*/ 547879 h 547879"/>
              <a:gd name="connsiteX36" fmla="*/ 431455 w 452000"/>
              <a:gd name="connsiteY36" fmla="*/ 547879 h 547879"/>
              <a:gd name="connsiteX37" fmla="*/ 452000 w 452000"/>
              <a:gd name="connsiteY37" fmla="*/ 527334 h 547879"/>
              <a:gd name="connsiteX38" fmla="*/ 431455 w 452000"/>
              <a:gd name="connsiteY38" fmla="*/ 506788 h 547879"/>
              <a:gd name="connsiteX39" fmla="*/ 68485 w 452000"/>
              <a:gd name="connsiteY39" fmla="*/ 506788 h 547879"/>
              <a:gd name="connsiteX40" fmla="*/ 41091 w 452000"/>
              <a:gd name="connsiteY40" fmla="*/ 479394 h 547879"/>
              <a:gd name="connsiteX41" fmla="*/ 431455 w 452000"/>
              <a:gd name="connsiteY41" fmla="*/ 479394 h 547879"/>
              <a:gd name="connsiteX42" fmla="*/ 452000 w 452000"/>
              <a:gd name="connsiteY42" fmla="*/ 458849 h 547879"/>
              <a:gd name="connsiteX43" fmla="*/ 452000 w 452000"/>
              <a:gd name="connsiteY43" fmla="*/ 68485 h 547879"/>
              <a:gd name="connsiteX44" fmla="*/ 383515 w 452000"/>
              <a:gd name="connsiteY44" fmla="*/ 0 h 547879"/>
              <a:gd name="connsiteX45" fmla="*/ 68485 w 452000"/>
              <a:gd name="connsiteY45" fmla="*/ 0 h 547879"/>
              <a:gd name="connsiteX46" fmla="*/ 410909 w 452000"/>
              <a:gd name="connsiteY46" fmla="*/ 438303 h 547879"/>
              <a:gd name="connsiteX47" fmla="*/ 41091 w 452000"/>
              <a:gd name="connsiteY47" fmla="*/ 438303 h 547879"/>
              <a:gd name="connsiteX48" fmla="*/ 41091 w 452000"/>
              <a:gd name="connsiteY48" fmla="*/ 68485 h 547879"/>
              <a:gd name="connsiteX49" fmla="*/ 68485 w 452000"/>
              <a:gd name="connsiteY49" fmla="*/ 41091 h 547879"/>
              <a:gd name="connsiteX50" fmla="*/ 383515 w 452000"/>
              <a:gd name="connsiteY50" fmla="*/ 41091 h 547879"/>
              <a:gd name="connsiteX51" fmla="*/ 410909 w 452000"/>
              <a:gd name="connsiteY51" fmla="*/ 68485 h 547879"/>
              <a:gd name="connsiteX52" fmla="*/ 410909 w 452000"/>
              <a:gd name="connsiteY52" fmla="*/ 438303 h 547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452000" h="547879">
                <a:moveTo>
                  <a:pt x="169771" y="149678"/>
                </a:moveTo>
                <a:cubicBezTo>
                  <a:pt x="186799" y="141534"/>
                  <a:pt x="209120" y="136970"/>
                  <a:pt x="232849" y="136970"/>
                </a:cubicBezTo>
                <a:cubicBezTo>
                  <a:pt x="256577" y="136970"/>
                  <a:pt x="278898" y="141534"/>
                  <a:pt x="295926" y="149678"/>
                </a:cubicBezTo>
                <a:cubicBezTo>
                  <a:pt x="311702" y="157222"/>
                  <a:pt x="328728" y="170976"/>
                  <a:pt x="328728" y="191758"/>
                </a:cubicBezTo>
                <a:cubicBezTo>
                  <a:pt x="328728" y="212540"/>
                  <a:pt x="311702" y="226293"/>
                  <a:pt x="295926" y="233838"/>
                </a:cubicBezTo>
                <a:cubicBezTo>
                  <a:pt x="278898" y="241982"/>
                  <a:pt x="256577" y="246546"/>
                  <a:pt x="232849" y="246546"/>
                </a:cubicBezTo>
                <a:cubicBezTo>
                  <a:pt x="209120" y="246546"/>
                  <a:pt x="186799" y="241982"/>
                  <a:pt x="169771" y="233838"/>
                </a:cubicBezTo>
                <a:cubicBezTo>
                  <a:pt x="153996" y="226293"/>
                  <a:pt x="136970" y="212540"/>
                  <a:pt x="136970" y="191758"/>
                </a:cubicBezTo>
                <a:cubicBezTo>
                  <a:pt x="136970" y="170976"/>
                  <a:pt x="153996" y="157222"/>
                  <a:pt x="169771" y="149678"/>
                </a:cubicBezTo>
                <a:close/>
                <a:moveTo>
                  <a:pt x="184545" y="180569"/>
                </a:moveTo>
                <a:cubicBezTo>
                  <a:pt x="171815" y="186657"/>
                  <a:pt x="171212" y="191758"/>
                  <a:pt x="171212" y="191758"/>
                </a:cubicBezTo>
                <a:cubicBezTo>
                  <a:pt x="171212" y="191758"/>
                  <a:pt x="171815" y="196858"/>
                  <a:pt x="184545" y="202946"/>
                </a:cubicBezTo>
                <a:cubicBezTo>
                  <a:pt x="196023" y="208435"/>
                  <a:pt x="213078" y="212303"/>
                  <a:pt x="232849" y="212303"/>
                </a:cubicBezTo>
                <a:cubicBezTo>
                  <a:pt x="252619" y="212303"/>
                  <a:pt x="269674" y="208435"/>
                  <a:pt x="281152" y="202946"/>
                </a:cubicBezTo>
                <a:cubicBezTo>
                  <a:pt x="293882" y="196858"/>
                  <a:pt x="294485" y="191758"/>
                  <a:pt x="294485" y="191758"/>
                </a:cubicBezTo>
                <a:cubicBezTo>
                  <a:pt x="294485" y="191758"/>
                  <a:pt x="293882" y="186657"/>
                  <a:pt x="281152" y="180569"/>
                </a:cubicBezTo>
                <a:cubicBezTo>
                  <a:pt x="269674" y="175080"/>
                  <a:pt x="252619" y="171212"/>
                  <a:pt x="232849" y="171212"/>
                </a:cubicBezTo>
                <a:cubicBezTo>
                  <a:pt x="213078" y="171212"/>
                  <a:pt x="196023" y="175080"/>
                  <a:pt x="184545" y="180569"/>
                </a:cubicBezTo>
                <a:close/>
                <a:moveTo>
                  <a:pt x="232849" y="273942"/>
                </a:moveTo>
                <a:cubicBezTo>
                  <a:pt x="271493" y="273942"/>
                  <a:pt x="305982" y="262086"/>
                  <a:pt x="328585" y="243535"/>
                </a:cubicBezTo>
                <a:cubicBezTo>
                  <a:pt x="328678" y="244535"/>
                  <a:pt x="328728" y="245540"/>
                  <a:pt x="328728" y="246554"/>
                </a:cubicBezTo>
                <a:cubicBezTo>
                  <a:pt x="328728" y="276810"/>
                  <a:pt x="285801" y="301342"/>
                  <a:pt x="232849" y="301342"/>
                </a:cubicBezTo>
                <a:cubicBezTo>
                  <a:pt x="179896" y="301342"/>
                  <a:pt x="136970" y="276810"/>
                  <a:pt x="136970" y="246554"/>
                </a:cubicBezTo>
                <a:cubicBezTo>
                  <a:pt x="136970" y="245540"/>
                  <a:pt x="137018" y="244535"/>
                  <a:pt x="137113" y="243535"/>
                </a:cubicBezTo>
                <a:cubicBezTo>
                  <a:pt x="159715" y="262086"/>
                  <a:pt x="194204" y="273942"/>
                  <a:pt x="232849" y="273942"/>
                </a:cubicBezTo>
                <a:close/>
                <a:moveTo>
                  <a:pt x="232849" y="328730"/>
                </a:moveTo>
                <a:cubicBezTo>
                  <a:pt x="271493" y="328730"/>
                  <a:pt x="305982" y="316874"/>
                  <a:pt x="328585" y="298323"/>
                </a:cubicBezTo>
                <a:cubicBezTo>
                  <a:pt x="328681" y="299320"/>
                  <a:pt x="328728" y="300325"/>
                  <a:pt x="328728" y="301336"/>
                </a:cubicBezTo>
                <a:cubicBezTo>
                  <a:pt x="328728" y="331596"/>
                  <a:pt x="285801" y="356124"/>
                  <a:pt x="232849" y="356124"/>
                </a:cubicBezTo>
                <a:cubicBezTo>
                  <a:pt x="179896" y="356124"/>
                  <a:pt x="136970" y="331596"/>
                  <a:pt x="136970" y="301336"/>
                </a:cubicBezTo>
                <a:cubicBezTo>
                  <a:pt x="136970" y="300325"/>
                  <a:pt x="137018" y="299320"/>
                  <a:pt x="137112" y="298323"/>
                </a:cubicBezTo>
                <a:cubicBezTo>
                  <a:pt x="159714" y="316874"/>
                  <a:pt x="194204" y="328730"/>
                  <a:pt x="232849" y="328730"/>
                </a:cubicBezTo>
                <a:close/>
                <a:moveTo>
                  <a:pt x="68485" y="0"/>
                </a:moveTo>
                <a:cubicBezTo>
                  <a:pt x="30662" y="0"/>
                  <a:pt x="0" y="30662"/>
                  <a:pt x="0" y="68485"/>
                </a:cubicBezTo>
                <a:lnTo>
                  <a:pt x="0" y="479394"/>
                </a:lnTo>
                <a:cubicBezTo>
                  <a:pt x="0" y="517217"/>
                  <a:pt x="30662" y="547879"/>
                  <a:pt x="68485" y="547879"/>
                </a:cubicBezTo>
                <a:lnTo>
                  <a:pt x="431455" y="547879"/>
                </a:lnTo>
                <a:cubicBezTo>
                  <a:pt x="442801" y="547879"/>
                  <a:pt x="452000" y="538680"/>
                  <a:pt x="452000" y="527334"/>
                </a:cubicBezTo>
                <a:cubicBezTo>
                  <a:pt x="452000" y="515987"/>
                  <a:pt x="442801" y="506788"/>
                  <a:pt x="431455" y="506788"/>
                </a:cubicBezTo>
                <a:lnTo>
                  <a:pt x="68485" y="506788"/>
                </a:lnTo>
                <a:cubicBezTo>
                  <a:pt x="53356" y="506788"/>
                  <a:pt x="41091" y="494524"/>
                  <a:pt x="41091" y="479394"/>
                </a:cubicBezTo>
                <a:lnTo>
                  <a:pt x="431455" y="479394"/>
                </a:lnTo>
                <a:cubicBezTo>
                  <a:pt x="442801" y="479394"/>
                  <a:pt x="452000" y="470195"/>
                  <a:pt x="452000" y="458849"/>
                </a:cubicBezTo>
                <a:lnTo>
                  <a:pt x="452000" y="68485"/>
                </a:lnTo>
                <a:cubicBezTo>
                  <a:pt x="452000" y="30662"/>
                  <a:pt x="421338" y="0"/>
                  <a:pt x="383515" y="0"/>
                </a:cubicBezTo>
                <a:lnTo>
                  <a:pt x="68485" y="0"/>
                </a:lnTo>
                <a:close/>
                <a:moveTo>
                  <a:pt x="410909" y="438303"/>
                </a:moveTo>
                <a:lnTo>
                  <a:pt x="41091" y="438303"/>
                </a:lnTo>
                <a:lnTo>
                  <a:pt x="41091" y="68485"/>
                </a:lnTo>
                <a:cubicBezTo>
                  <a:pt x="41091" y="53356"/>
                  <a:pt x="53356" y="41091"/>
                  <a:pt x="68485" y="41091"/>
                </a:cubicBezTo>
                <a:lnTo>
                  <a:pt x="383515" y="41091"/>
                </a:lnTo>
                <a:cubicBezTo>
                  <a:pt x="398645" y="41091"/>
                  <a:pt x="410909" y="53356"/>
                  <a:pt x="410909" y="68485"/>
                </a:cubicBezTo>
                <a:lnTo>
                  <a:pt x="410909" y="438303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2" name="Graphic 36" descr="Book&#10;Keyword: fluent-icon, word, excel, powerpoint;&#10;Metaphor: Read, formulas;&#10;&#10;Used in general book scenarios and in formulas. Contains cover variants.">
            <a:extLst>
              <a:ext uri="{FF2B5EF4-FFF2-40B4-BE49-F238E27FC236}">
                <a16:creationId xmlns:a16="http://schemas.microsoft.com/office/drawing/2014/main" id="{E5058F6F-1AF3-ABA1-B8D5-4E0F5B9F4DA1}"/>
              </a:ext>
            </a:extLst>
          </p:cNvPr>
          <p:cNvSpPr/>
          <p:nvPr/>
        </p:nvSpPr>
        <p:spPr>
          <a:xfrm>
            <a:off x="8213714" y="1890892"/>
            <a:ext cx="452000" cy="547879"/>
          </a:xfrm>
          <a:custGeom>
            <a:avLst/>
            <a:gdLst>
              <a:gd name="connsiteX0" fmla="*/ 82182 w 452000"/>
              <a:gd name="connsiteY0" fmla="*/ 109576 h 547879"/>
              <a:gd name="connsiteX1" fmla="*/ 109576 w 452000"/>
              <a:gd name="connsiteY1" fmla="*/ 82182 h 547879"/>
              <a:gd name="connsiteX2" fmla="*/ 328728 w 452000"/>
              <a:gd name="connsiteY2" fmla="*/ 82182 h 547879"/>
              <a:gd name="connsiteX3" fmla="*/ 356121 w 452000"/>
              <a:gd name="connsiteY3" fmla="*/ 109576 h 547879"/>
              <a:gd name="connsiteX4" fmla="*/ 356121 w 452000"/>
              <a:gd name="connsiteY4" fmla="*/ 164364 h 547879"/>
              <a:gd name="connsiteX5" fmla="*/ 328728 w 452000"/>
              <a:gd name="connsiteY5" fmla="*/ 191758 h 547879"/>
              <a:gd name="connsiteX6" fmla="*/ 109576 w 452000"/>
              <a:gd name="connsiteY6" fmla="*/ 191758 h 547879"/>
              <a:gd name="connsiteX7" fmla="*/ 82182 w 452000"/>
              <a:gd name="connsiteY7" fmla="*/ 164364 h 547879"/>
              <a:gd name="connsiteX8" fmla="*/ 82182 w 452000"/>
              <a:gd name="connsiteY8" fmla="*/ 109576 h 547879"/>
              <a:gd name="connsiteX9" fmla="*/ 123273 w 452000"/>
              <a:gd name="connsiteY9" fmla="*/ 150667 h 547879"/>
              <a:gd name="connsiteX10" fmla="*/ 315031 w 452000"/>
              <a:gd name="connsiteY10" fmla="*/ 150667 h 547879"/>
              <a:gd name="connsiteX11" fmla="*/ 315031 w 452000"/>
              <a:gd name="connsiteY11" fmla="*/ 123273 h 547879"/>
              <a:gd name="connsiteX12" fmla="*/ 123273 w 452000"/>
              <a:gd name="connsiteY12" fmla="*/ 123273 h 547879"/>
              <a:gd name="connsiteX13" fmla="*/ 123273 w 452000"/>
              <a:gd name="connsiteY13" fmla="*/ 150667 h 547879"/>
              <a:gd name="connsiteX14" fmla="*/ 0 w 452000"/>
              <a:gd name="connsiteY14" fmla="*/ 68485 h 547879"/>
              <a:gd name="connsiteX15" fmla="*/ 68485 w 452000"/>
              <a:gd name="connsiteY15" fmla="*/ 0 h 547879"/>
              <a:gd name="connsiteX16" fmla="*/ 383515 w 452000"/>
              <a:gd name="connsiteY16" fmla="*/ 0 h 547879"/>
              <a:gd name="connsiteX17" fmla="*/ 452000 w 452000"/>
              <a:gd name="connsiteY17" fmla="*/ 68485 h 547879"/>
              <a:gd name="connsiteX18" fmla="*/ 452000 w 452000"/>
              <a:gd name="connsiteY18" fmla="*/ 458849 h 547879"/>
              <a:gd name="connsiteX19" fmla="*/ 431455 w 452000"/>
              <a:gd name="connsiteY19" fmla="*/ 479394 h 547879"/>
              <a:gd name="connsiteX20" fmla="*/ 41091 w 452000"/>
              <a:gd name="connsiteY20" fmla="*/ 479394 h 547879"/>
              <a:gd name="connsiteX21" fmla="*/ 68485 w 452000"/>
              <a:gd name="connsiteY21" fmla="*/ 506788 h 547879"/>
              <a:gd name="connsiteX22" fmla="*/ 431455 w 452000"/>
              <a:gd name="connsiteY22" fmla="*/ 506788 h 547879"/>
              <a:gd name="connsiteX23" fmla="*/ 452000 w 452000"/>
              <a:gd name="connsiteY23" fmla="*/ 527334 h 547879"/>
              <a:gd name="connsiteX24" fmla="*/ 431455 w 452000"/>
              <a:gd name="connsiteY24" fmla="*/ 547879 h 547879"/>
              <a:gd name="connsiteX25" fmla="*/ 68485 w 452000"/>
              <a:gd name="connsiteY25" fmla="*/ 547879 h 547879"/>
              <a:gd name="connsiteX26" fmla="*/ 0 w 452000"/>
              <a:gd name="connsiteY26" fmla="*/ 479394 h 547879"/>
              <a:gd name="connsiteX27" fmla="*/ 0 w 452000"/>
              <a:gd name="connsiteY27" fmla="*/ 68485 h 547879"/>
              <a:gd name="connsiteX28" fmla="*/ 41091 w 452000"/>
              <a:gd name="connsiteY28" fmla="*/ 438303 h 547879"/>
              <a:gd name="connsiteX29" fmla="*/ 410909 w 452000"/>
              <a:gd name="connsiteY29" fmla="*/ 438303 h 547879"/>
              <a:gd name="connsiteX30" fmla="*/ 410909 w 452000"/>
              <a:gd name="connsiteY30" fmla="*/ 68485 h 547879"/>
              <a:gd name="connsiteX31" fmla="*/ 383515 w 452000"/>
              <a:gd name="connsiteY31" fmla="*/ 41091 h 547879"/>
              <a:gd name="connsiteX32" fmla="*/ 68485 w 452000"/>
              <a:gd name="connsiteY32" fmla="*/ 41091 h 547879"/>
              <a:gd name="connsiteX33" fmla="*/ 41091 w 452000"/>
              <a:gd name="connsiteY33" fmla="*/ 68485 h 547879"/>
              <a:gd name="connsiteX34" fmla="*/ 41091 w 452000"/>
              <a:gd name="connsiteY34" fmla="*/ 438303 h 547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452000" h="547879">
                <a:moveTo>
                  <a:pt x="82182" y="109576"/>
                </a:moveTo>
                <a:cubicBezTo>
                  <a:pt x="82182" y="94447"/>
                  <a:pt x="94447" y="82182"/>
                  <a:pt x="109576" y="82182"/>
                </a:cubicBezTo>
                <a:lnTo>
                  <a:pt x="328728" y="82182"/>
                </a:lnTo>
                <a:cubicBezTo>
                  <a:pt x="343857" y="82182"/>
                  <a:pt x="356121" y="94447"/>
                  <a:pt x="356121" y="109576"/>
                </a:cubicBezTo>
                <a:lnTo>
                  <a:pt x="356121" y="164364"/>
                </a:lnTo>
                <a:cubicBezTo>
                  <a:pt x="356121" y="179493"/>
                  <a:pt x="343857" y="191758"/>
                  <a:pt x="328728" y="191758"/>
                </a:cubicBezTo>
                <a:lnTo>
                  <a:pt x="109576" y="191758"/>
                </a:lnTo>
                <a:cubicBezTo>
                  <a:pt x="94447" y="191758"/>
                  <a:pt x="82182" y="179493"/>
                  <a:pt x="82182" y="164364"/>
                </a:cubicBezTo>
                <a:lnTo>
                  <a:pt x="82182" y="109576"/>
                </a:lnTo>
                <a:close/>
                <a:moveTo>
                  <a:pt x="123273" y="150667"/>
                </a:moveTo>
                <a:lnTo>
                  <a:pt x="315031" y="150667"/>
                </a:lnTo>
                <a:lnTo>
                  <a:pt x="315031" y="123273"/>
                </a:lnTo>
                <a:lnTo>
                  <a:pt x="123273" y="123273"/>
                </a:lnTo>
                <a:lnTo>
                  <a:pt x="123273" y="150667"/>
                </a:lnTo>
                <a:close/>
                <a:moveTo>
                  <a:pt x="0" y="68485"/>
                </a:moveTo>
                <a:cubicBezTo>
                  <a:pt x="0" y="30662"/>
                  <a:pt x="30662" y="0"/>
                  <a:pt x="68485" y="0"/>
                </a:cubicBezTo>
                <a:lnTo>
                  <a:pt x="383515" y="0"/>
                </a:lnTo>
                <a:cubicBezTo>
                  <a:pt x="421338" y="0"/>
                  <a:pt x="452000" y="30662"/>
                  <a:pt x="452000" y="68485"/>
                </a:cubicBezTo>
                <a:lnTo>
                  <a:pt x="452000" y="458849"/>
                </a:lnTo>
                <a:cubicBezTo>
                  <a:pt x="452000" y="470195"/>
                  <a:pt x="442801" y="479394"/>
                  <a:pt x="431455" y="479394"/>
                </a:cubicBezTo>
                <a:lnTo>
                  <a:pt x="41091" y="479394"/>
                </a:lnTo>
                <a:cubicBezTo>
                  <a:pt x="41091" y="494524"/>
                  <a:pt x="53356" y="506788"/>
                  <a:pt x="68485" y="506788"/>
                </a:cubicBezTo>
                <a:lnTo>
                  <a:pt x="431455" y="506788"/>
                </a:lnTo>
                <a:cubicBezTo>
                  <a:pt x="442801" y="506788"/>
                  <a:pt x="452000" y="515987"/>
                  <a:pt x="452000" y="527334"/>
                </a:cubicBezTo>
                <a:cubicBezTo>
                  <a:pt x="452000" y="538680"/>
                  <a:pt x="442801" y="547879"/>
                  <a:pt x="431455" y="547879"/>
                </a:cubicBezTo>
                <a:lnTo>
                  <a:pt x="68485" y="547879"/>
                </a:lnTo>
                <a:cubicBezTo>
                  <a:pt x="30662" y="547879"/>
                  <a:pt x="0" y="517217"/>
                  <a:pt x="0" y="479394"/>
                </a:cubicBezTo>
                <a:lnTo>
                  <a:pt x="0" y="68485"/>
                </a:lnTo>
                <a:close/>
                <a:moveTo>
                  <a:pt x="41091" y="438303"/>
                </a:moveTo>
                <a:lnTo>
                  <a:pt x="410909" y="438303"/>
                </a:lnTo>
                <a:lnTo>
                  <a:pt x="410909" y="68485"/>
                </a:lnTo>
                <a:cubicBezTo>
                  <a:pt x="410909" y="53356"/>
                  <a:pt x="398645" y="41091"/>
                  <a:pt x="383515" y="41091"/>
                </a:cubicBezTo>
                <a:lnTo>
                  <a:pt x="68485" y="41091"/>
                </a:lnTo>
                <a:cubicBezTo>
                  <a:pt x="53356" y="41091"/>
                  <a:pt x="41091" y="53356"/>
                  <a:pt x="41091" y="68485"/>
                </a:cubicBezTo>
                <a:lnTo>
                  <a:pt x="41091" y="438303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3" name="Graphic 40" descr="Cellular Data&#10;Keyword: fluent-icon;&#10;Metaphor: data, connection;&#10;&#10;Used for device connection status. Contains level variants.">
            <a:extLst>
              <a:ext uri="{FF2B5EF4-FFF2-40B4-BE49-F238E27FC236}">
                <a16:creationId xmlns:a16="http://schemas.microsoft.com/office/drawing/2014/main" id="{691638AD-F2C5-DB1D-669E-FEF388720468}"/>
              </a:ext>
            </a:extLst>
          </p:cNvPr>
          <p:cNvSpPr/>
          <p:nvPr/>
        </p:nvSpPr>
        <p:spPr>
          <a:xfrm>
            <a:off x="9114062" y="1973074"/>
            <a:ext cx="493091" cy="410909"/>
          </a:xfrm>
          <a:custGeom>
            <a:avLst/>
            <a:gdLst>
              <a:gd name="connsiteX0" fmla="*/ 465697 w 493091"/>
              <a:gd name="connsiteY0" fmla="*/ 0 h 410909"/>
              <a:gd name="connsiteX1" fmla="*/ 493091 w 493091"/>
              <a:gd name="connsiteY1" fmla="*/ 27371 h 410909"/>
              <a:gd name="connsiteX2" fmla="*/ 493091 w 493091"/>
              <a:gd name="connsiteY2" fmla="*/ 383537 h 410909"/>
              <a:gd name="connsiteX3" fmla="*/ 465697 w 493091"/>
              <a:gd name="connsiteY3" fmla="*/ 410909 h 410909"/>
              <a:gd name="connsiteX4" fmla="*/ 438303 w 493091"/>
              <a:gd name="connsiteY4" fmla="*/ 383537 h 410909"/>
              <a:gd name="connsiteX5" fmla="*/ 438303 w 493091"/>
              <a:gd name="connsiteY5" fmla="*/ 27371 h 410909"/>
              <a:gd name="connsiteX6" fmla="*/ 465697 w 493091"/>
              <a:gd name="connsiteY6" fmla="*/ 0 h 410909"/>
              <a:gd name="connsiteX7" fmla="*/ 356121 w 493091"/>
              <a:gd name="connsiteY7" fmla="*/ 82182 h 410909"/>
              <a:gd name="connsiteX8" fmla="*/ 383515 w 493091"/>
              <a:gd name="connsiteY8" fmla="*/ 109451 h 410909"/>
              <a:gd name="connsiteX9" fmla="*/ 383515 w 493091"/>
              <a:gd name="connsiteY9" fmla="*/ 383641 h 410909"/>
              <a:gd name="connsiteX10" fmla="*/ 356121 w 493091"/>
              <a:gd name="connsiteY10" fmla="*/ 410909 h 410909"/>
              <a:gd name="connsiteX11" fmla="*/ 328728 w 493091"/>
              <a:gd name="connsiteY11" fmla="*/ 383641 h 410909"/>
              <a:gd name="connsiteX12" fmla="*/ 328728 w 493091"/>
              <a:gd name="connsiteY12" fmla="*/ 109451 h 410909"/>
              <a:gd name="connsiteX13" fmla="*/ 356121 w 493091"/>
              <a:gd name="connsiteY13" fmla="*/ 82182 h 410909"/>
              <a:gd name="connsiteX14" fmla="*/ 246546 w 493091"/>
              <a:gd name="connsiteY14" fmla="*/ 164364 h 410909"/>
              <a:gd name="connsiteX15" fmla="*/ 273940 w 493091"/>
              <a:gd name="connsiteY15" fmla="*/ 191758 h 410909"/>
              <a:gd name="connsiteX16" fmla="*/ 273940 w 493091"/>
              <a:gd name="connsiteY16" fmla="*/ 383515 h 410909"/>
              <a:gd name="connsiteX17" fmla="*/ 246546 w 493091"/>
              <a:gd name="connsiteY17" fmla="*/ 410909 h 410909"/>
              <a:gd name="connsiteX18" fmla="*/ 219152 w 493091"/>
              <a:gd name="connsiteY18" fmla="*/ 383515 h 410909"/>
              <a:gd name="connsiteX19" fmla="*/ 219152 w 493091"/>
              <a:gd name="connsiteY19" fmla="*/ 191758 h 410909"/>
              <a:gd name="connsiteX20" fmla="*/ 246546 w 493091"/>
              <a:gd name="connsiteY20" fmla="*/ 164364 h 410909"/>
              <a:gd name="connsiteX21" fmla="*/ 136970 w 493091"/>
              <a:gd name="connsiteY21" fmla="*/ 246546 h 410909"/>
              <a:gd name="connsiteX22" fmla="*/ 164364 w 493091"/>
              <a:gd name="connsiteY22" fmla="*/ 273781 h 410909"/>
              <a:gd name="connsiteX23" fmla="*/ 164364 w 493091"/>
              <a:gd name="connsiteY23" fmla="*/ 383674 h 410909"/>
              <a:gd name="connsiteX24" fmla="*/ 136970 w 493091"/>
              <a:gd name="connsiteY24" fmla="*/ 410909 h 410909"/>
              <a:gd name="connsiteX25" fmla="*/ 109576 w 493091"/>
              <a:gd name="connsiteY25" fmla="*/ 383674 h 410909"/>
              <a:gd name="connsiteX26" fmla="*/ 109576 w 493091"/>
              <a:gd name="connsiteY26" fmla="*/ 273781 h 410909"/>
              <a:gd name="connsiteX27" fmla="*/ 136970 w 493091"/>
              <a:gd name="connsiteY27" fmla="*/ 246546 h 410909"/>
              <a:gd name="connsiteX28" fmla="*/ 27394 w 493091"/>
              <a:gd name="connsiteY28" fmla="*/ 328728 h 410909"/>
              <a:gd name="connsiteX29" fmla="*/ 54788 w 493091"/>
              <a:gd name="connsiteY29" fmla="*/ 355672 h 410909"/>
              <a:gd name="connsiteX30" fmla="*/ 54788 w 493091"/>
              <a:gd name="connsiteY30" fmla="*/ 383965 h 410909"/>
              <a:gd name="connsiteX31" fmla="*/ 27394 w 493091"/>
              <a:gd name="connsiteY31" fmla="*/ 410909 h 410909"/>
              <a:gd name="connsiteX32" fmla="*/ 0 w 493091"/>
              <a:gd name="connsiteY32" fmla="*/ 383965 h 410909"/>
              <a:gd name="connsiteX33" fmla="*/ 0 w 493091"/>
              <a:gd name="connsiteY33" fmla="*/ 355672 h 410909"/>
              <a:gd name="connsiteX34" fmla="*/ 27394 w 493091"/>
              <a:gd name="connsiteY34" fmla="*/ 328728 h 410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493091" h="410909">
                <a:moveTo>
                  <a:pt x="465697" y="0"/>
                </a:moveTo>
                <a:cubicBezTo>
                  <a:pt x="480827" y="0"/>
                  <a:pt x="493091" y="12255"/>
                  <a:pt x="493091" y="27371"/>
                </a:cubicBezTo>
                <a:lnTo>
                  <a:pt x="493091" y="383537"/>
                </a:lnTo>
                <a:cubicBezTo>
                  <a:pt x="493091" y="398656"/>
                  <a:pt x="480827" y="410909"/>
                  <a:pt x="465697" y="410909"/>
                </a:cubicBezTo>
                <a:cubicBezTo>
                  <a:pt x="450568" y="410909"/>
                  <a:pt x="438303" y="398656"/>
                  <a:pt x="438303" y="383537"/>
                </a:cubicBezTo>
                <a:lnTo>
                  <a:pt x="438303" y="27371"/>
                </a:lnTo>
                <a:cubicBezTo>
                  <a:pt x="438303" y="12255"/>
                  <a:pt x="450568" y="0"/>
                  <a:pt x="465697" y="0"/>
                </a:cubicBezTo>
                <a:close/>
                <a:moveTo>
                  <a:pt x="356121" y="82182"/>
                </a:moveTo>
                <a:cubicBezTo>
                  <a:pt x="371251" y="82182"/>
                  <a:pt x="383515" y="94391"/>
                  <a:pt x="383515" y="109451"/>
                </a:cubicBezTo>
                <a:lnTo>
                  <a:pt x="383515" y="383641"/>
                </a:lnTo>
                <a:cubicBezTo>
                  <a:pt x="383515" y="398700"/>
                  <a:pt x="371251" y="410909"/>
                  <a:pt x="356121" y="410909"/>
                </a:cubicBezTo>
                <a:cubicBezTo>
                  <a:pt x="340992" y="410909"/>
                  <a:pt x="328728" y="398700"/>
                  <a:pt x="328728" y="383641"/>
                </a:cubicBezTo>
                <a:lnTo>
                  <a:pt x="328728" y="109451"/>
                </a:lnTo>
                <a:cubicBezTo>
                  <a:pt x="328728" y="94391"/>
                  <a:pt x="340992" y="82182"/>
                  <a:pt x="356121" y="82182"/>
                </a:cubicBezTo>
                <a:close/>
                <a:moveTo>
                  <a:pt x="246546" y="164364"/>
                </a:moveTo>
                <a:cubicBezTo>
                  <a:pt x="261675" y="164364"/>
                  <a:pt x="273940" y="176628"/>
                  <a:pt x="273940" y="191758"/>
                </a:cubicBezTo>
                <a:lnTo>
                  <a:pt x="273940" y="383515"/>
                </a:lnTo>
                <a:cubicBezTo>
                  <a:pt x="273940" y="398645"/>
                  <a:pt x="261675" y="410909"/>
                  <a:pt x="246546" y="410909"/>
                </a:cubicBezTo>
                <a:cubicBezTo>
                  <a:pt x="231416" y="410909"/>
                  <a:pt x="219152" y="398645"/>
                  <a:pt x="219152" y="383515"/>
                </a:cubicBezTo>
                <a:lnTo>
                  <a:pt x="219152" y="191758"/>
                </a:lnTo>
                <a:cubicBezTo>
                  <a:pt x="219152" y="176628"/>
                  <a:pt x="231416" y="164364"/>
                  <a:pt x="246546" y="164364"/>
                </a:cubicBezTo>
                <a:close/>
                <a:moveTo>
                  <a:pt x="136970" y="246546"/>
                </a:moveTo>
                <a:cubicBezTo>
                  <a:pt x="152099" y="246546"/>
                  <a:pt x="164364" y="258739"/>
                  <a:pt x="164364" y="273781"/>
                </a:cubicBezTo>
                <a:lnTo>
                  <a:pt x="164364" y="383674"/>
                </a:lnTo>
                <a:cubicBezTo>
                  <a:pt x="164364" y="398716"/>
                  <a:pt x="152099" y="410909"/>
                  <a:pt x="136970" y="410909"/>
                </a:cubicBezTo>
                <a:cubicBezTo>
                  <a:pt x="121841" y="410909"/>
                  <a:pt x="109576" y="398716"/>
                  <a:pt x="109576" y="383674"/>
                </a:cubicBezTo>
                <a:lnTo>
                  <a:pt x="109576" y="273781"/>
                </a:lnTo>
                <a:cubicBezTo>
                  <a:pt x="109576" y="258739"/>
                  <a:pt x="121841" y="246546"/>
                  <a:pt x="136970" y="246546"/>
                </a:cubicBezTo>
                <a:close/>
                <a:moveTo>
                  <a:pt x="27394" y="328728"/>
                </a:moveTo>
                <a:cubicBezTo>
                  <a:pt x="42523" y="328728"/>
                  <a:pt x="54788" y="340789"/>
                  <a:pt x="54788" y="355672"/>
                </a:cubicBezTo>
                <a:lnTo>
                  <a:pt x="54788" y="383965"/>
                </a:lnTo>
                <a:cubicBezTo>
                  <a:pt x="54788" y="398848"/>
                  <a:pt x="42523" y="410909"/>
                  <a:pt x="27394" y="410909"/>
                </a:cubicBezTo>
                <a:cubicBezTo>
                  <a:pt x="12265" y="410909"/>
                  <a:pt x="0" y="398848"/>
                  <a:pt x="0" y="383965"/>
                </a:cubicBezTo>
                <a:lnTo>
                  <a:pt x="0" y="355672"/>
                </a:lnTo>
                <a:cubicBezTo>
                  <a:pt x="0" y="340789"/>
                  <a:pt x="12265" y="328728"/>
                  <a:pt x="27394" y="328728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4" name="Graphic 44" descr="Cart&#10;Keyword: fluent-icon, teams;&#10;Metaphor: shopping, purchase, collection;&#10;&#10;Used in shopping scenarios.">
            <a:extLst>
              <a:ext uri="{FF2B5EF4-FFF2-40B4-BE49-F238E27FC236}">
                <a16:creationId xmlns:a16="http://schemas.microsoft.com/office/drawing/2014/main" id="{1C7A6614-58B9-7FD0-7978-C1CC1FD2D4E2}"/>
              </a:ext>
            </a:extLst>
          </p:cNvPr>
          <p:cNvSpPr/>
          <p:nvPr/>
        </p:nvSpPr>
        <p:spPr>
          <a:xfrm>
            <a:off x="10023612" y="1895762"/>
            <a:ext cx="553930" cy="553966"/>
          </a:xfrm>
          <a:custGeom>
            <a:avLst/>
            <a:gdLst>
              <a:gd name="connsiteX0" fmla="*/ 0 w 553930"/>
              <a:gd name="connsiteY0" fmla="*/ 23741 h 553966"/>
              <a:gd name="connsiteX1" fmla="*/ 23741 w 553930"/>
              <a:gd name="connsiteY1" fmla="*/ 0 h 553966"/>
              <a:gd name="connsiteX2" fmla="*/ 41413 w 553930"/>
              <a:gd name="connsiteY2" fmla="*/ 0 h 553966"/>
              <a:gd name="connsiteX3" fmla="*/ 99817 w 553930"/>
              <a:gd name="connsiteY3" fmla="*/ 39031 h 553966"/>
              <a:gd name="connsiteX4" fmla="*/ 115536 w 553930"/>
              <a:gd name="connsiteY4" fmla="*/ 79263 h 553966"/>
              <a:gd name="connsiteX5" fmla="*/ 118732 w 553930"/>
              <a:gd name="connsiteY5" fmla="*/ 79138 h 553966"/>
              <a:gd name="connsiteX6" fmla="*/ 514337 w 553930"/>
              <a:gd name="connsiteY6" fmla="*/ 79138 h 553966"/>
              <a:gd name="connsiteX7" fmla="*/ 552390 w 553930"/>
              <a:gd name="connsiteY7" fmla="*/ 129559 h 553966"/>
              <a:gd name="connsiteX8" fmla="*/ 494531 w 553930"/>
              <a:gd name="connsiteY8" fmla="*/ 332440 h 553966"/>
              <a:gd name="connsiteX9" fmla="*/ 410818 w 553930"/>
              <a:gd name="connsiteY9" fmla="*/ 395621 h 553966"/>
              <a:gd name="connsiteX10" fmla="*/ 222529 w 553930"/>
              <a:gd name="connsiteY10" fmla="*/ 395621 h 553966"/>
              <a:gd name="connsiteX11" fmla="*/ 138581 w 553930"/>
              <a:gd name="connsiteY11" fmla="*/ 331607 h 553966"/>
              <a:gd name="connsiteX12" fmla="*/ 114508 w 553930"/>
              <a:gd name="connsiteY12" fmla="*/ 243889 h 553966"/>
              <a:gd name="connsiteX13" fmla="*/ 74666 w 553930"/>
              <a:gd name="connsiteY13" fmla="*/ 109393 h 553966"/>
              <a:gd name="connsiteX14" fmla="*/ 74602 w 553930"/>
              <a:gd name="connsiteY14" fmla="*/ 109158 h 553966"/>
              <a:gd name="connsiteX15" fmla="*/ 58174 w 553930"/>
              <a:gd name="connsiteY15" fmla="*/ 61845 h 553966"/>
              <a:gd name="connsiteX16" fmla="*/ 41413 w 553930"/>
              <a:gd name="connsiteY16" fmla="*/ 47483 h 553966"/>
              <a:gd name="connsiteX17" fmla="*/ 23741 w 553930"/>
              <a:gd name="connsiteY17" fmla="*/ 47483 h 553966"/>
              <a:gd name="connsiteX18" fmla="*/ 0 w 553930"/>
              <a:gd name="connsiteY18" fmla="*/ 23741 h 553966"/>
              <a:gd name="connsiteX19" fmla="*/ 160582 w 553930"/>
              <a:gd name="connsiteY19" fmla="*/ 232358 h 553966"/>
              <a:gd name="connsiteX20" fmla="*/ 184371 w 553930"/>
              <a:gd name="connsiteY20" fmla="*/ 319040 h 553966"/>
              <a:gd name="connsiteX21" fmla="*/ 222529 w 553930"/>
              <a:gd name="connsiteY21" fmla="*/ 348138 h 553966"/>
              <a:gd name="connsiteX22" fmla="*/ 410818 w 553930"/>
              <a:gd name="connsiteY22" fmla="*/ 348138 h 553966"/>
              <a:gd name="connsiteX23" fmla="*/ 448871 w 553930"/>
              <a:gd name="connsiteY23" fmla="*/ 319420 h 553966"/>
              <a:gd name="connsiteX24" fmla="*/ 503850 w 553930"/>
              <a:gd name="connsiteY24" fmla="*/ 126621 h 553966"/>
              <a:gd name="connsiteX25" fmla="*/ 129327 w 553930"/>
              <a:gd name="connsiteY25" fmla="*/ 126621 h 553966"/>
              <a:gd name="connsiteX26" fmla="*/ 160146 w 553930"/>
              <a:gd name="connsiteY26" fmla="*/ 230666 h 553966"/>
              <a:gd name="connsiteX27" fmla="*/ 160582 w 553930"/>
              <a:gd name="connsiteY27" fmla="*/ 232358 h 553966"/>
              <a:gd name="connsiteX28" fmla="*/ 269069 w 553930"/>
              <a:gd name="connsiteY28" fmla="*/ 490656 h 553966"/>
              <a:gd name="connsiteX29" fmla="*/ 205759 w 553930"/>
              <a:gd name="connsiteY29" fmla="*/ 553966 h 553966"/>
              <a:gd name="connsiteX30" fmla="*/ 142449 w 553930"/>
              <a:gd name="connsiteY30" fmla="*/ 490656 h 553966"/>
              <a:gd name="connsiteX31" fmla="*/ 205759 w 553930"/>
              <a:gd name="connsiteY31" fmla="*/ 427346 h 553966"/>
              <a:gd name="connsiteX32" fmla="*/ 269069 w 553930"/>
              <a:gd name="connsiteY32" fmla="*/ 490656 h 553966"/>
              <a:gd name="connsiteX33" fmla="*/ 221587 w 553930"/>
              <a:gd name="connsiteY33" fmla="*/ 490656 h 553966"/>
              <a:gd name="connsiteX34" fmla="*/ 205759 w 553930"/>
              <a:gd name="connsiteY34" fmla="*/ 474828 h 553966"/>
              <a:gd name="connsiteX35" fmla="*/ 189931 w 553930"/>
              <a:gd name="connsiteY35" fmla="*/ 490656 h 553966"/>
              <a:gd name="connsiteX36" fmla="*/ 205759 w 553930"/>
              <a:gd name="connsiteY36" fmla="*/ 506484 h 553966"/>
              <a:gd name="connsiteX37" fmla="*/ 221587 w 553930"/>
              <a:gd name="connsiteY37" fmla="*/ 490656 h 553966"/>
              <a:gd name="connsiteX38" fmla="*/ 490656 w 553930"/>
              <a:gd name="connsiteY38" fmla="*/ 490656 h 553966"/>
              <a:gd name="connsiteX39" fmla="*/ 427346 w 553930"/>
              <a:gd name="connsiteY39" fmla="*/ 553966 h 553966"/>
              <a:gd name="connsiteX40" fmla="*/ 364035 w 553930"/>
              <a:gd name="connsiteY40" fmla="*/ 490656 h 553966"/>
              <a:gd name="connsiteX41" fmla="*/ 427346 w 553930"/>
              <a:gd name="connsiteY41" fmla="*/ 427346 h 553966"/>
              <a:gd name="connsiteX42" fmla="*/ 490656 w 553930"/>
              <a:gd name="connsiteY42" fmla="*/ 490656 h 553966"/>
              <a:gd name="connsiteX43" fmla="*/ 443173 w 553930"/>
              <a:gd name="connsiteY43" fmla="*/ 490656 h 553966"/>
              <a:gd name="connsiteX44" fmla="*/ 427346 w 553930"/>
              <a:gd name="connsiteY44" fmla="*/ 474828 h 553966"/>
              <a:gd name="connsiteX45" fmla="*/ 411518 w 553930"/>
              <a:gd name="connsiteY45" fmla="*/ 490656 h 553966"/>
              <a:gd name="connsiteX46" fmla="*/ 427346 w 553930"/>
              <a:gd name="connsiteY46" fmla="*/ 506484 h 553966"/>
              <a:gd name="connsiteX47" fmla="*/ 443173 w 553930"/>
              <a:gd name="connsiteY47" fmla="*/ 490656 h 553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553930" h="553966">
                <a:moveTo>
                  <a:pt x="0" y="23741"/>
                </a:moveTo>
                <a:cubicBezTo>
                  <a:pt x="0" y="10629"/>
                  <a:pt x="10629" y="0"/>
                  <a:pt x="23741" y="0"/>
                </a:cubicBezTo>
                <a:lnTo>
                  <a:pt x="41413" y="0"/>
                </a:lnTo>
                <a:cubicBezTo>
                  <a:pt x="71501" y="0"/>
                  <a:pt x="89515" y="20227"/>
                  <a:pt x="99817" y="39031"/>
                </a:cubicBezTo>
                <a:cubicBezTo>
                  <a:pt x="106683" y="51564"/>
                  <a:pt x="111651" y="66102"/>
                  <a:pt x="115536" y="79263"/>
                </a:cubicBezTo>
                <a:cubicBezTo>
                  <a:pt x="116588" y="79180"/>
                  <a:pt x="117654" y="79138"/>
                  <a:pt x="118732" y="79138"/>
                </a:cubicBezTo>
                <a:lnTo>
                  <a:pt x="514337" y="79138"/>
                </a:lnTo>
                <a:cubicBezTo>
                  <a:pt x="540617" y="79138"/>
                  <a:pt x="559595" y="104286"/>
                  <a:pt x="552390" y="129559"/>
                </a:cubicBezTo>
                <a:lnTo>
                  <a:pt x="494531" y="332440"/>
                </a:lnTo>
                <a:cubicBezTo>
                  <a:pt x="483869" y="369834"/>
                  <a:pt x="449700" y="395621"/>
                  <a:pt x="410818" y="395621"/>
                </a:cubicBezTo>
                <a:lnTo>
                  <a:pt x="222529" y="395621"/>
                </a:lnTo>
                <a:cubicBezTo>
                  <a:pt x="183324" y="395621"/>
                  <a:pt x="148957" y="369413"/>
                  <a:pt x="138581" y="331607"/>
                </a:cubicBezTo>
                <a:lnTo>
                  <a:pt x="114508" y="243889"/>
                </a:lnTo>
                <a:lnTo>
                  <a:pt x="74666" y="109393"/>
                </a:lnTo>
                <a:lnTo>
                  <a:pt x="74602" y="109158"/>
                </a:lnTo>
                <a:cubicBezTo>
                  <a:pt x="69673" y="91183"/>
                  <a:pt x="65047" y="74391"/>
                  <a:pt x="58174" y="61845"/>
                </a:cubicBezTo>
                <a:cubicBezTo>
                  <a:pt x="51499" y="49661"/>
                  <a:pt x="46178" y="47483"/>
                  <a:pt x="41413" y="47483"/>
                </a:cubicBezTo>
                <a:lnTo>
                  <a:pt x="23741" y="47483"/>
                </a:lnTo>
                <a:cubicBezTo>
                  <a:pt x="10629" y="47483"/>
                  <a:pt x="0" y="36853"/>
                  <a:pt x="0" y="23741"/>
                </a:cubicBezTo>
                <a:close/>
                <a:moveTo>
                  <a:pt x="160582" y="232358"/>
                </a:moveTo>
                <a:lnTo>
                  <a:pt x="184371" y="319040"/>
                </a:lnTo>
                <a:cubicBezTo>
                  <a:pt x="189087" y="336226"/>
                  <a:pt x="204709" y="348138"/>
                  <a:pt x="222529" y="348138"/>
                </a:cubicBezTo>
                <a:lnTo>
                  <a:pt x="410818" y="348138"/>
                </a:lnTo>
                <a:cubicBezTo>
                  <a:pt x="428491" y="348138"/>
                  <a:pt x="444021" y="336416"/>
                  <a:pt x="448871" y="319420"/>
                </a:cubicBezTo>
                <a:lnTo>
                  <a:pt x="503850" y="126621"/>
                </a:lnTo>
                <a:lnTo>
                  <a:pt x="129327" y="126621"/>
                </a:lnTo>
                <a:lnTo>
                  <a:pt x="160146" y="230666"/>
                </a:lnTo>
                <a:cubicBezTo>
                  <a:pt x="160313" y="231229"/>
                  <a:pt x="160458" y="231793"/>
                  <a:pt x="160582" y="232358"/>
                </a:cubicBezTo>
                <a:close/>
                <a:moveTo>
                  <a:pt x="269069" y="490656"/>
                </a:moveTo>
                <a:cubicBezTo>
                  <a:pt x="269069" y="525622"/>
                  <a:pt x="240724" y="553966"/>
                  <a:pt x="205759" y="553966"/>
                </a:cubicBezTo>
                <a:cubicBezTo>
                  <a:pt x="170794" y="553966"/>
                  <a:pt x="142449" y="525622"/>
                  <a:pt x="142449" y="490656"/>
                </a:cubicBezTo>
                <a:cubicBezTo>
                  <a:pt x="142449" y="455690"/>
                  <a:pt x="170794" y="427346"/>
                  <a:pt x="205759" y="427346"/>
                </a:cubicBezTo>
                <a:cubicBezTo>
                  <a:pt x="240724" y="427346"/>
                  <a:pt x="269069" y="455690"/>
                  <a:pt x="269069" y="490656"/>
                </a:cubicBezTo>
                <a:close/>
                <a:moveTo>
                  <a:pt x="221587" y="490656"/>
                </a:moveTo>
                <a:cubicBezTo>
                  <a:pt x="221587" y="481916"/>
                  <a:pt x="214500" y="474828"/>
                  <a:pt x="205759" y="474828"/>
                </a:cubicBezTo>
                <a:cubicBezTo>
                  <a:pt x="197018" y="474828"/>
                  <a:pt x="189931" y="481916"/>
                  <a:pt x="189931" y="490656"/>
                </a:cubicBezTo>
                <a:cubicBezTo>
                  <a:pt x="189931" y="499396"/>
                  <a:pt x="197018" y="506484"/>
                  <a:pt x="205759" y="506484"/>
                </a:cubicBezTo>
                <a:cubicBezTo>
                  <a:pt x="214500" y="506484"/>
                  <a:pt x="221587" y="499396"/>
                  <a:pt x="221587" y="490656"/>
                </a:cubicBezTo>
                <a:close/>
                <a:moveTo>
                  <a:pt x="490656" y="490656"/>
                </a:moveTo>
                <a:cubicBezTo>
                  <a:pt x="490656" y="525622"/>
                  <a:pt x="462312" y="553966"/>
                  <a:pt x="427346" y="553966"/>
                </a:cubicBezTo>
                <a:cubicBezTo>
                  <a:pt x="392379" y="553966"/>
                  <a:pt x="364035" y="525622"/>
                  <a:pt x="364035" y="490656"/>
                </a:cubicBezTo>
                <a:cubicBezTo>
                  <a:pt x="364035" y="455690"/>
                  <a:pt x="392379" y="427346"/>
                  <a:pt x="427346" y="427346"/>
                </a:cubicBezTo>
                <a:cubicBezTo>
                  <a:pt x="462312" y="427346"/>
                  <a:pt x="490656" y="455690"/>
                  <a:pt x="490656" y="490656"/>
                </a:cubicBezTo>
                <a:close/>
                <a:moveTo>
                  <a:pt x="443173" y="490656"/>
                </a:moveTo>
                <a:cubicBezTo>
                  <a:pt x="443173" y="481916"/>
                  <a:pt x="436086" y="474828"/>
                  <a:pt x="427346" y="474828"/>
                </a:cubicBezTo>
                <a:cubicBezTo>
                  <a:pt x="418606" y="474828"/>
                  <a:pt x="411518" y="481916"/>
                  <a:pt x="411518" y="490656"/>
                </a:cubicBezTo>
                <a:cubicBezTo>
                  <a:pt x="411518" y="499396"/>
                  <a:pt x="418606" y="506484"/>
                  <a:pt x="427346" y="506484"/>
                </a:cubicBezTo>
                <a:cubicBezTo>
                  <a:pt x="436086" y="506484"/>
                  <a:pt x="443173" y="499396"/>
                  <a:pt x="443173" y="490656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3122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5" name="Graphic 50" descr="Cut&#10;Keyword: fluent-icon, word, excel, powerpoint;&#10;Metaphor: copy, paste, share, move.&#10;&#10;Used to cut content from experience.">
            <a:extLst>
              <a:ext uri="{FF2B5EF4-FFF2-40B4-BE49-F238E27FC236}">
                <a16:creationId xmlns:a16="http://schemas.microsoft.com/office/drawing/2014/main" id="{6DC1295B-C933-B4B5-8CCF-E03FAF1276CA}"/>
              </a:ext>
            </a:extLst>
          </p:cNvPr>
          <p:cNvSpPr/>
          <p:nvPr/>
        </p:nvSpPr>
        <p:spPr>
          <a:xfrm>
            <a:off x="10983711" y="1878121"/>
            <a:ext cx="496964" cy="573423"/>
          </a:xfrm>
          <a:custGeom>
            <a:avLst/>
            <a:gdLst>
              <a:gd name="connsiteX0" fmla="*/ 252372 w 496964"/>
              <a:gd name="connsiteY0" fmla="*/ 210489 h 573423"/>
              <a:gd name="connsiteX1" fmla="*/ 252348 w 496964"/>
              <a:gd name="connsiteY1" fmla="*/ 210528 h 573423"/>
              <a:gd name="connsiteX2" fmla="*/ 120657 w 496964"/>
              <a:gd name="connsiteY2" fmla="*/ 9415 h 573423"/>
              <a:gd name="connsiteX3" fmla="*/ 91890 w 496964"/>
              <a:gd name="connsiteY3" fmla="*/ 3725 h 573423"/>
              <a:gd name="connsiteX4" fmla="*/ 86410 w 496964"/>
              <a:gd name="connsiteY4" fmla="*/ 33599 h 573423"/>
              <a:gd name="connsiteX5" fmla="*/ 228067 w 496964"/>
              <a:gd name="connsiteY5" fmla="*/ 249927 h 573423"/>
              <a:gd name="connsiteX6" fmla="*/ 161921 w 496964"/>
              <a:gd name="connsiteY6" fmla="*/ 357256 h 573423"/>
              <a:gd name="connsiteX7" fmla="*/ 110436 w 496964"/>
              <a:gd name="connsiteY7" fmla="*/ 344055 h 573423"/>
              <a:gd name="connsiteX8" fmla="*/ 0 w 496964"/>
              <a:gd name="connsiteY8" fmla="*/ 458740 h 573423"/>
              <a:gd name="connsiteX9" fmla="*/ 110436 w 496964"/>
              <a:gd name="connsiteY9" fmla="*/ 573424 h 573423"/>
              <a:gd name="connsiteX10" fmla="*/ 220873 w 496964"/>
              <a:gd name="connsiteY10" fmla="*/ 458740 h 573423"/>
              <a:gd name="connsiteX11" fmla="*/ 194434 w 496964"/>
              <a:gd name="connsiteY11" fmla="*/ 384281 h 573423"/>
              <a:gd name="connsiteX12" fmla="*/ 253396 w 496964"/>
              <a:gd name="connsiteY12" fmla="*/ 288609 h 573423"/>
              <a:gd name="connsiteX13" fmla="*/ 310398 w 496964"/>
              <a:gd name="connsiteY13" fmla="*/ 375660 h 573423"/>
              <a:gd name="connsiteX14" fmla="*/ 276091 w 496964"/>
              <a:gd name="connsiteY14" fmla="*/ 458740 h 573423"/>
              <a:gd name="connsiteX15" fmla="*/ 386528 w 496964"/>
              <a:gd name="connsiteY15" fmla="*/ 573424 h 573423"/>
              <a:gd name="connsiteX16" fmla="*/ 496964 w 496964"/>
              <a:gd name="connsiteY16" fmla="*/ 458740 h 573423"/>
              <a:gd name="connsiteX17" fmla="*/ 386528 w 496964"/>
              <a:gd name="connsiteY17" fmla="*/ 344055 h 573423"/>
              <a:gd name="connsiteX18" fmla="*/ 345216 w 496964"/>
              <a:gd name="connsiteY18" fmla="*/ 352350 h 573423"/>
              <a:gd name="connsiteX19" fmla="*/ 277679 w 496964"/>
              <a:gd name="connsiteY19" fmla="*/ 249209 h 573423"/>
              <a:gd name="connsiteX20" fmla="*/ 277715 w 496964"/>
              <a:gd name="connsiteY20" fmla="*/ 249152 h 573423"/>
              <a:gd name="connsiteX21" fmla="*/ 252372 w 496964"/>
              <a:gd name="connsiteY21" fmla="*/ 210489 h 573423"/>
              <a:gd name="connsiteX22" fmla="*/ 41414 w 496964"/>
              <a:gd name="connsiteY22" fmla="*/ 458740 h 573423"/>
              <a:gd name="connsiteX23" fmla="*/ 110436 w 496964"/>
              <a:gd name="connsiteY23" fmla="*/ 387062 h 573423"/>
              <a:gd name="connsiteX24" fmla="*/ 179459 w 496964"/>
              <a:gd name="connsiteY24" fmla="*/ 458740 h 573423"/>
              <a:gd name="connsiteX25" fmla="*/ 110436 w 496964"/>
              <a:gd name="connsiteY25" fmla="*/ 530417 h 573423"/>
              <a:gd name="connsiteX26" fmla="*/ 41414 w 496964"/>
              <a:gd name="connsiteY26" fmla="*/ 458740 h 573423"/>
              <a:gd name="connsiteX27" fmla="*/ 317505 w 496964"/>
              <a:gd name="connsiteY27" fmla="*/ 458740 h 573423"/>
              <a:gd name="connsiteX28" fmla="*/ 386528 w 496964"/>
              <a:gd name="connsiteY28" fmla="*/ 387062 h 573423"/>
              <a:gd name="connsiteX29" fmla="*/ 455550 w 496964"/>
              <a:gd name="connsiteY29" fmla="*/ 458740 h 573423"/>
              <a:gd name="connsiteX30" fmla="*/ 386528 w 496964"/>
              <a:gd name="connsiteY30" fmla="*/ 530417 h 573423"/>
              <a:gd name="connsiteX31" fmla="*/ 317505 w 496964"/>
              <a:gd name="connsiteY31" fmla="*/ 458740 h 573423"/>
              <a:gd name="connsiteX32" fmla="*/ 301991 w 496964"/>
              <a:gd name="connsiteY32" fmla="*/ 209759 h 573423"/>
              <a:gd name="connsiteX33" fmla="*/ 410865 w 496964"/>
              <a:gd name="connsiteY33" fmla="*/ 33097 h 573423"/>
              <a:gd name="connsiteX34" fmla="*/ 404587 w 496964"/>
              <a:gd name="connsiteY34" fmla="*/ 3394 h 573423"/>
              <a:gd name="connsiteX35" fmla="*/ 375984 w 496964"/>
              <a:gd name="connsiteY35" fmla="*/ 9915 h 573423"/>
              <a:gd name="connsiteX36" fmla="*/ 276649 w 496964"/>
              <a:gd name="connsiteY36" fmla="*/ 171096 h 573423"/>
              <a:gd name="connsiteX37" fmla="*/ 301991 w 496964"/>
              <a:gd name="connsiteY37" fmla="*/ 209759 h 573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496964" h="573423">
                <a:moveTo>
                  <a:pt x="252372" y="210489"/>
                </a:moveTo>
                <a:lnTo>
                  <a:pt x="252348" y="210528"/>
                </a:lnTo>
                <a:lnTo>
                  <a:pt x="120657" y="9415"/>
                </a:lnTo>
                <a:cubicBezTo>
                  <a:pt x="114226" y="-405"/>
                  <a:pt x="101347" y="-2953"/>
                  <a:pt x="91890" y="3725"/>
                </a:cubicBezTo>
                <a:cubicBezTo>
                  <a:pt x="82433" y="10403"/>
                  <a:pt x="79980" y="23778"/>
                  <a:pt x="86410" y="33599"/>
                </a:cubicBezTo>
                <a:lnTo>
                  <a:pt x="228067" y="249927"/>
                </a:lnTo>
                <a:lnTo>
                  <a:pt x="161921" y="357256"/>
                </a:lnTo>
                <a:cubicBezTo>
                  <a:pt x="146548" y="348826"/>
                  <a:pt x="129029" y="344055"/>
                  <a:pt x="110436" y="344055"/>
                </a:cubicBezTo>
                <a:cubicBezTo>
                  <a:pt x="49444" y="344055"/>
                  <a:pt x="0" y="395402"/>
                  <a:pt x="0" y="458740"/>
                </a:cubicBezTo>
                <a:cubicBezTo>
                  <a:pt x="0" y="522080"/>
                  <a:pt x="49444" y="573424"/>
                  <a:pt x="110436" y="573424"/>
                </a:cubicBezTo>
                <a:cubicBezTo>
                  <a:pt x="171429" y="573424"/>
                  <a:pt x="220873" y="522080"/>
                  <a:pt x="220873" y="458740"/>
                </a:cubicBezTo>
                <a:cubicBezTo>
                  <a:pt x="220873" y="430321"/>
                  <a:pt x="210919" y="404316"/>
                  <a:pt x="194434" y="384281"/>
                </a:cubicBezTo>
                <a:lnTo>
                  <a:pt x="253396" y="288609"/>
                </a:lnTo>
                <a:lnTo>
                  <a:pt x="310398" y="375660"/>
                </a:lnTo>
                <a:cubicBezTo>
                  <a:pt x="289263" y="396549"/>
                  <a:pt x="276091" y="426049"/>
                  <a:pt x="276091" y="458740"/>
                </a:cubicBezTo>
                <a:cubicBezTo>
                  <a:pt x="276091" y="522080"/>
                  <a:pt x="325536" y="573424"/>
                  <a:pt x="386528" y="573424"/>
                </a:cubicBezTo>
                <a:cubicBezTo>
                  <a:pt x="447519" y="573424"/>
                  <a:pt x="496964" y="522080"/>
                  <a:pt x="496964" y="458740"/>
                </a:cubicBezTo>
                <a:cubicBezTo>
                  <a:pt x="496964" y="395402"/>
                  <a:pt x="447519" y="344055"/>
                  <a:pt x="386528" y="344055"/>
                </a:cubicBezTo>
                <a:cubicBezTo>
                  <a:pt x="371922" y="344055"/>
                  <a:pt x="357977" y="347000"/>
                  <a:pt x="345216" y="352350"/>
                </a:cubicBezTo>
                <a:lnTo>
                  <a:pt x="277679" y="249209"/>
                </a:lnTo>
                <a:lnTo>
                  <a:pt x="277715" y="249152"/>
                </a:lnTo>
                <a:lnTo>
                  <a:pt x="252372" y="210489"/>
                </a:lnTo>
                <a:close/>
                <a:moveTo>
                  <a:pt x="41414" y="458740"/>
                </a:moveTo>
                <a:cubicBezTo>
                  <a:pt x="41414" y="419154"/>
                  <a:pt x="72316" y="387062"/>
                  <a:pt x="110436" y="387062"/>
                </a:cubicBezTo>
                <a:cubicBezTo>
                  <a:pt x="148557" y="387062"/>
                  <a:pt x="179459" y="419154"/>
                  <a:pt x="179459" y="458740"/>
                </a:cubicBezTo>
                <a:cubicBezTo>
                  <a:pt x="179459" y="498326"/>
                  <a:pt x="148557" y="530417"/>
                  <a:pt x="110436" y="530417"/>
                </a:cubicBezTo>
                <a:cubicBezTo>
                  <a:pt x="72316" y="530417"/>
                  <a:pt x="41414" y="498326"/>
                  <a:pt x="41414" y="458740"/>
                </a:cubicBezTo>
                <a:close/>
                <a:moveTo>
                  <a:pt x="317505" y="458740"/>
                </a:moveTo>
                <a:cubicBezTo>
                  <a:pt x="317505" y="419154"/>
                  <a:pt x="348408" y="387062"/>
                  <a:pt x="386528" y="387062"/>
                </a:cubicBezTo>
                <a:cubicBezTo>
                  <a:pt x="424647" y="387062"/>
                  <a:pt x="455550" y="419154"/>
                  <a:pt x="455550" y="458740"/>
                </a:cubicBezTo>
                <a:cubicBezTo>
                  <a:pt x="455550" y="498326"/>
                  <a:pt x="424647" y="530417"/>
                  <a:pt x="386528" y="530417"/>
                </a:cubicBezTo>
                <a:cubicBezTo>
                  <a:pt x="348408" y="530417"/>
                  <a:pt x="317505" y="498326"/>
                  <a:pt x="317505" y="458740"/>
                </a:cubicBezTo>
                <a:close/>
                <a:moveTo>
                  <a:pt x="301991" y="209759"/>
                </a:moveTo>
                <a:lnTo>
                  <a:pt x="410865" y="33097"/>
                </a:lnTo>
                <a:cubicBezTo>
                  <a:pt x="417030" y="23095"/>
                  <a:pt x="414220" y="9796"/>
                  <a:pt x="404587" y="3394"/>
                </a:cubicBezTo>
                <a:cubicBezTo>
                  <a:pt x="394957" y="-3007"/>
                  <a:pt x="382149" y="-88"/>
                  <a:pt x="375984" y="9915"/>
                </a:cubicBezTo>
                <a:lnTo>
                  <a:pt x="276649" y="171096"/>
                </a:lnTo>
                <a:lnTo>
                  <a:pt x="301991" y="209759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2751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6" name="Graphic 54" descr="App List Detail&#10;Keyword: fluent-icon;&#10;Metaphor: collection, ui, list, cell;&#10;&#10;Used for content representing app ui.">
            <a:extLst>
              <a:ext uri="{FF2B5EF4-FFF2-40B4-BE49-F238E27FC236}">
                <a16:creationId xmlns:a16="http://schemas.microsoft.com/office/drawing/2014/main" id="{687A7732-8E3A-CCE6-EABA-585607437E17}"/>
              </a:ext>
            </a:extLst>
          </p:cNvPr>
          <p:cNvSpPr/>
          <p:nvPr/>
        </p:nvSpPr>
        <p:spPr>
          <a:xfrm>
            <a:off x="692075" y="3225559"/>
            <a:ext cx="547879" cy="438303"/>
          </a:xfrm>
          <a:custGeom>
            <a:avLst/>
            <a:gdLst>
              <a:gd name="connsiteX0" fmla="*/ 61636 w 547879"/>
              <a:gd name="connsiteY0" fmla="*/ 0 h 438303"/>
              <a:gd name="connsiteX1" fmla="*/ 0 w 547879"/>
              <a:gd name="connsiteY1" fmla="*/ 61636 h 438303"/>
              <a:gd name="connsiteX2" fmla="*/ 0 w 547879"/>
              <a:gd name="connsiteY2" fmla="*/ 130121 h 438303"/>
              <a:gd name="connsiteX3" fmla="*/ 61636 w 547879"/>
              <a:gd name="connsiteY3" fmla="*/ 191758 h 438303"/>
              <a:gd name="connsiteX4" fmla="*/ 130121 w 547879"/>
              <a:gd name="connsiteY4" fmla="*/ 191758 h 438303"/>
              <a:gd name="connsiteX5" fmla="*/ 191758 w 547879"/>
              <a:gd name="connsiteY5" fmla="*/ 130121 h 438303"/>
              <a:gd name="connsiteX6" fmla="*/ 191758 w 547879"/>
              <a:gd name="connsiteY6" fmla="*/ 61636 h 438303"/>
              <a:gd name="connsiteX7" fmla="*/ 130121 w 547879"/>
              <a:gd name="connsiteY7" fmla="*/ 0 h 438303"/>
              <a:gd name="connsiteX8" fmla="*/ 61636 w 547879"/>
              <a:gd name="connsiteY8" fmla="*/ 0 h 438303"/>
              <a:gd name="connsiteX9" fmla="*/ 253394 w 547879"/>
              <a:gd name="connsiteY9" fmla="*/ 27394 h 438303"/>
              <a:gd name="connsiteX10" fmla="*/ 232849 w 547879"/>
              <a:gd name="connsiteY10" fmla="*/ 47939 h 438303"/>
              <a:gd name="connsiteX11" fmla="*/ 253394 w 547879"/>
              <a:gd name="connsiteY11" fmla="*/ 68485 h 438303"/>
              <a:gd name="connsiteX12" fmla="*/ 527334 w 547879"/>
              <a:gd name="connsiteY12" fmla="*/ 68485 h 438303"/>
              <a:gd name="connsiteX13" fmla="*/ 547879 w 547879"/>
              <a:gd name="connsiteY13" fmla="*/ 47939 h 438303"/>
              <a:gd name="connsiteX14" fmla="*/ 527334 w 547879"/>
              <a:gd name="connsiteY14" fmla="*/ 27394 h 438303"/>
              <a:gd name="connsiteX15" fmla="*/ 253394 w 547879"/>
              <a:gd name="connsiteY15" fmla="*/ 27394 h 438303"/>
              <a:gd name="connsiteX16" fmla="*/ 253394 w 547879"/>
              <a:gd name="connsiteY16" fmla="*/ 109576 h 438303"/>
              <a:gd name="connsiteX17" fmla="*/ 232849 w 547879"/>
              <a:gd name="connsiteY17" fmla="*/ 130121 h 438303"/>
              <a:gd name="connsiteX18" fmla="*/ 253394 w 547879"/>
              <a:gd name="connsiteY18" fmla="*/ 150667 h 438303"/>
              <a:gd name="connsiteX19" fmla="*/ 445152 w 547879"/>
              <a:gd name="connsiteY19" fmla="*/ 150667 h 438303"/>
              <a:gd name="connsiteX20" fmla="*/ 465697 w 547879"/>
              <a:gd name="connsiteY20" fmla="*/ 130121 h 438303"/>
              <a:gd name="connsiteX21" fmla="*/ 445152 w 547879"/>
              <a:gd name="connsiteY21" fmla="*/ 109576 h 438303"/>
              <a:gd name="connsiteX22" fmla="*/ 253394 w 547879"/>
              <a:gd name="connsiteY22" fmla="*/ 109576 h 438303"/>
              <a:gd name="connsiteX23" fmla="*/ 61636 w 547879"/>
              <a:gd name="connsiteY23" fmla="*/ 246546 h 438303"/>
              <a:gd name="connsiteX24" fmla="*/ 0 w 547879"/>
              <a:gd name="connsiteY24" fmla="*/ 308182 h 438303"/>
              <a:gd name="connsiteX25" fmla="*/ 0 w 547879"/>
              <a:gd name="connsiteY25" fmla="*/ 376667 h 438303"/>
              <a:gd name="connsiteX26" fmla="*/ 61636 w 547879"/>
              <a:gd name="connsiteY26" fmla="*/ 438303 h 438303"/>
              <a:gd name="connsiteX27" fmla="*/ 130121 w 547879"/>
              <a:gd name="connsiteY27" fmla="*/ 438303 h 438303"/>
              <a:gd name="connsiteX28" fmla="*/ 191758 w 547879"/>
              <a:gd name="connsiteY28" fmla="*/ 376667 h 438303"/>
              <a:gd name="connsiteX29" fmla="*/ 191758 w 547879"/>
              <a:gd name="connsiteY29" fmla="*/ 308182 h 438303"/>
              <a:gd name="connsiteX30" fmla="*/ 130121 w 547879"/>
              <a:gd name="connsiteY30" fmla="*/ 246546 h 438303"/>
              <a:gd name="connsiteX31" fmla="*/ 61636 w 547879"/>
              <a:gd name="connsiteY31" fmla="*/ 246546 h 438303"/>
              <a:gd name="connsiteX32" fmla="*/ 253394 w 547879"/>
              <a:gd name="connsiteY32" fmla="*/ 273940 h 438303"/>
              <a:gd name="connsiteX33" fmla="*/ 232849 w 547879"/>
              <a:gd name="connsiteY33" fmla="*/ 294485 h 438303"/>
              <a:gd name="connsiteX34" fmla="*/ 253394 w 547879"/>
              <a:gd name="connsiteY34" fmla="*/ 315031 h 438303"/>
              <a:gd name="connsiteX35" fmla="*/ 527334 w 547879"/>
              <a:gd name="connsiteY35" fmla="*/ 315031 h 438303"/>
              <a:gd name="connsiteX36" fmla="*/ 547879 w 547879"/>
              <a:gd name="connsiteY36" fmla="*/ 294485 h 438303"/>
              <a:gd name="connsiteX37" fmla="*/ 527334 w 547879"/>
              <a:gd name="connsiteY37" fmla="*/ 273940 h 438303"/>
              <a:gd name="connsiteX38" fmla="*/ 253394 w 547879"/>
              <a:gd name="connsiteY38" fmla="*/ 273940 h 438303"/>
              <a:gd name="connsiteX39" fmla="*/ 253394 w 547879"/>
              <a:gd name="connsiteY39" fmla="*/ 356121 h 438303"/>
              <a:gd name="connsiteX40" fmla="*/ 232849 w 547879"/>
              <a:gd name="connsiteY40" fmla="*/ 376667 h 438303"/>
              <a:gd name="connsiteX41" fmla="*/ 253394 w 547879"/>
              <a:gd name="connsiteY41" fmla="*/ 397212 h 438303"/>
              <a:gd name="connsiteX42" fmla="*/ 445152 w 547879"/>
              <a:gd name="connsiteY42" fmla="*/ 397212 h 438303"/>
              <a:gd name="connsiteX43" fmla="*/ 465697 w 547879"/>
              <a:gd name="connsiteY43" fmla="*/ 376667 h 438303"/>
              <a:gd name="connsiteX44" fmla="*/ 445152 w 547879"/>
              <a:gd name="connsiteY44" fmla="*/ 356121 h 438303"/>
              <a:gd name="connsiteX45" fmla="*/ 253394 w 547879"/>
              <a:gd name="connsiteY45" fmla="*/ 356121 h 438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547879" h="438303">
                <a:moveTo>
                  <a:pt x="61636" y="0"/>
                </a:moveTo>
                <a:cubicBezTo>
                  <a:pt x="27596" y="0"/>
                  <a:pt x="0" y="27596"/>
                  <a:pt x="0" y="61636"/>
                </a:cubicBezTo>
                <a:lnTo>
                  <a:pt x="0" y="130121"/>
                </a:lnTo>
                <a:cubicBezTo>
                  <a:pt x="0" y="164162"/>
                  <a:pt x="27596" y="191758"/>
                  <a:pt x="61636" y="191758"/>
                </a:cubicBezTo>
                <a:lnTo>
                  <a:pt x="130121" y="191758"/>
                </a:lnTo>
                <a:cubicBezTo>
                  <a:pt x="164162" y="191758"/>
                  <a:pt x="191758" y="164162"/>
                  <a:pt x="191758" y="130121"/>
                </a:cubicBezTo>
                <a:lnTo>
                  <a:pt x="191758" y="61636"/>
                </a:lnTo>
                <a:cubicBezTo>
                  <a:pt x="191758" y="27596"/>
                  <a:pt x="164162" y="0"/>
                  <a:pt x="130121" y="0"/>
                </a:cubicBezTo>
                <a:lnTo>
                  <a:pt x="61636" y="0"/>
                </a:lnTo>
                <a:close/>
                <a:moveTo>
                  <a:pt x="253394" y="27394"/>
                </a:moveTo>
                <a:cubicBezTo>
                  <a:pt x="242048" y="27394"/>
                  <a:pt x="232849" y="36593"/>
                  <a:pt x="232849" y="47939"/>
                </a:cubicBezTo>
                <a:cubicBezTo>
                  <a:pt x="232849" y="59286"/>
                  <a:pt x="242048" y="68485"/>
                  <a:pt x="253394" y="68485"/>
                </a:cubicBezTo>
                <a:lnTo>
                  <a:pt x="527334" y="68485"/>
                </a:lnTo>
                <a:cubicBezTo>
                  <a:pt x="538680" y="68485"/>
                  <a:pt x="547879" y="59286"/>
                  <a:pt x="547879" y="47939"/>
                </a:cubicBezTo>
                <a:cubicBezTo>
                  <a:pt x="547879" y="36593"/>
                  <a:pt x="538680" y="27394"/>
                  <a:pt x="527334" y="27394"/>
                </a:cubicBezTo>
                <a:lnTo>
                  <a:pt x="253394" y="27394"/>
                </a:lnTo>
                <a:close/>
                <a:moveTo>
                  <a:pt x="253394" y="109576"/>
                </a:moveTo>
                <a:cubicBezTo>
                  <a:pt x="242048" y="109576"/>
                  <a:pt x="232849" y="118774"/>
                  <a:pt x="232849" y="130121"/>
                </a:cubicBezTo>
                <a:cubicBezTo>
                  <a:pt x="232849" y="141468"/>
                  <a:pt x="242048" y="150667"/>
                  <a:pt x="253394" y="150667"/>
                </a:cubicBezTo>
                <a:lnTo>
                  <a:pt x="445152" y="150667"/>
                </a:lnTo>
                <a:cubicBezTo>
                  <a:pt x="456498" y="150667"/>
                  <a:pt x="465697" y="141468"/>
                  <a:pt x="465697" y="130121"/>
                </a:cubicBezTo>
                <a:cubicBezTo>
                  <a:pt x="465697" y="118774"/>
                  <a:pt x="456498" y="109576"/>
                  <a:pt x="445152" y="109576"/>
                </a:cubicBezTo>
                <a:lnTo>
                  <a:pt x="253394" y="109576"/>
                </a:lnTo>
                <a:close/>
                <a:moveTo>
                  <a:pt x="61636" y="246546"/>
                </a:moveTo>
                <a:cubicBezTo>
                  <a:pt x="27596" y="246546"/>
                  <a:pt x="0" y="274142"/>
                  <a:pt x="0" y="308182"/>
                </a:cubicBezTo>
                <a:lnTo>
                  <a:pt x="0" y="376667"/>
                </a:lnTo>
                <a:cubicBezTo>
                  <a:pt x="0" y="410707"/>
                  <a:pt x="27596" y="438303"/>
                  <a:pt x="61636" y="438303"/>
                </a:cubicBezTo>
                <a:lnTo>
                  <a:pt x="130121" y="438303"/>
                </a:lnTo>
                <a:cubicBezTo>
                  <a:pt x="164162" y="438303"/>
                  <a:pt x="191758" y="410707"/>
                  <a:pt x="191758" y="376667"/>
                </a:cubicBezTo>
                <a:lnTo>
                  <a:pt x="191758" y="308182"/>
                </a:lnTo>
                <a:cubicBezTo>
                  <a:pt x="191758" y="274142"/>
                  <a:pt x="164162" y="246546"/>
                  <a:pt x="130121" y="246546"/>
                </a:cubicBezTo>
                <a:lnTo>
                  <a:pt x="61636" y="246546"/>
                </a:lnTo>
                <a:close/>
                <a:moveTo>
                  <a:pt x="253394" y="273940"/>
                </a:moveTo>
                <a:cubicBezTo>
                  <a:pt x="242048" y="273940"/>
                  <a:pt x="232849" y="283138"/>
                  <a:pt x="232849" y="294485"/>
                </a:cubicBezTo>
                <a:cubicBezTo>
                  <a:pt x="232849" y="305832"/>
                  <a:pt x="242048" y="315031"/>
                  <a:pt x="253394" y="315031"/>
                </a:cubicBezTo>
                <a:lnTo>
                  <a:pt x="527334" y="315031"/>
                </a:lnTo>
                <a:cubicBezTo>
                  <a:pt x="538680" y="315031"/>
                  <a:pt x="547879" y="305832"/>
                  <a:pt x="547879" y="294485"/>
                </a:cubicBezTo>
                <a:cubicBezTo>
                  <a:pt x="547879" y="283138"/>
                  <a:pt x="538680" y="273940"/>
                  <a:pt x="527334" y="273940"/>
                </a:cubicBezTo>
                <a:lnTo>
                  <a:pt x="253394" y="273940"/>
                </a:lnTo>
                <a:close/>
                <a:moveTo>
                  <a:pt x="253394" y="356121"/>
                </a:moveTo>
                <a:cubicBezTo>
                  <a:pt x="242048" y="356121"/>
                  <a:pt x="232849" y="365320"/>
                  <a:pt x="232849" y="376667"/>
                </a:cubicBezTo>
                <a:cubicBezTo>
                  <a:pt x="232849" y="388014"/>
                  <a:pt x="242048" y="397212"/>
                  <a:pt x="253394" y="397212"/>
                </a:cubicBezTo>
                <a:lnTo>
                  <a:pt x="445152" y="397212"/>
                </a:lnTo>
                <a:cubicBezTo>
                  <a:pt x="456498" y="397212"/>
                  <a:pt x="465697" y="388014"/>
                  <a:pt x="465697" y="376667"/>
                </a:cubicBezTo>
                <a:cubicBezTo>
                  <a:pt x="465697" y="365320"/>
                  <a:pt x="456498" y="356121"/>
                  <a:pt x="445152" y="356121"/>
                </a:cubicBezTo>
                <a:lnTo>
                  <a:pt x="253394" y="356121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7" name="Graphic 92" descr="Developer Board&#10;Keyword: fluent-icon;&#10;Metaphor: circuit, chip, device, memory, process, power, cpu;&#10;&#10;Used to represent general computer guts and processing power.">
            <a:extLst>
              <a:ext uri="{FF2B5EF4-FFF2-40B4-BE49-F238E27FC236}">
                <a16:creationId xmlns:a16="http://schemas.microsoft.com/office/drawing/2014/main" id="{EAC715A2-2495-2161-50E0-EFF7FC35F5B8}"/>
              </a:ext>
            </a:extLst>
          </p:cNvPr>
          <p:cNvSpPr/>
          <p:nvPr/>
        </p:nvSpPr>
        <p:spPr>
          <a:xfrm>
            <a:off x="1630201" y="3170771"/>
            <a:ext cx="547879" cy="547879"/>
          </a:xfrm>
          <a:custGeom>
            <a:avLst/>
            <a:gdLst>
              <a:gd name="connsiteX0" fmla="*/ 362970 w 547879"/>
              <a:gd name="connsiteY0" fmla="*/ 0 h 547879"/>
              <a:gd name="connsiteX1" fmla="*/ 383329 w 547879"/>
              <a:gd name="connsiteY1" fmla="*/ 17758 h 547879"/>
              <a:gd name="connsiteX2" fmla="*/ 383515 w 547879"/>
              <a:gd name="connsiteY2" fmla="*/ 20545 h 547879"/>
              <a:gd name="connsiteX3" fmla="*/ 383529 w 547879"/>
              <a:gd name="connsiteY3" fmla="*/ 84240 h 547879"/>
              <a:gd name="connsiteX4" fmla="*/ 463643 w 547879"/>
              <a:gd name="connsiteY4" fmla="*/ 164369 h 547879"/>
              <a:gd name="connsiteX5" fmla="*/ 527334 w 547879"/>
              <a:gd name="connsiteY5" fmla="*/ 164364 h 547879"/>
              <a:gd name="connsiteX6" fmla="*/ 547879 w 547879"/>
              <a:gd name="connsiteY6" fmla="*/ 184909 h 547879"/>
              <a:gd name="connsiteX7" fmla="*/ 530122 w 547879"/>
              <a:gd name="connsiteY7" fmla="*/ 205267 h 547879"/>
              <a:gd name="connsiteX8" fmla="*/ 527334 w 547879"/>
              <a:gd name="connsiteY8" fmla="*/ 205455 h 547879"/>
              <a:gd name="connsiteX9" fmla="*/ 465697 w 547879"/>
              <a:gd name="connsiteY9" fmla="*/ 205455 h 547879"/>
              <a:gd name="connsiteX10" fmla="*/ 465697 w 547879"/>
              <a:gd name="connsiteY10" fmla="*/ 253394 h 547879"/>
              <a:gd name="connsiteX11" fmla="*/ 527334 w 547879"/>
              <a:gd name="connsiteY11" fmla="*/ 253394 h 547879"/>
              <a:gd name="connsiteX12" fmla="*/ 547693 w 547879"/>
              <a:gd name="connsiteY12" fmla="*/ 271151 h 547879"/>
              <a:gd name="connsiteX13" fmla="*/ 547879 w 547879"/>
              <a:gd name="connsiteY13" fmla="*/ 273940 h 547879"/>
              <a:gd name="connsiteX14" fmla="*/ 530122 w 547879"/>
              <a:gd name="connsiteY14" fmla="*/ 294299 h 547879"/>
              <a:gd name="connsiteX15" fmla="*/ 527334 w 547879"/>
              <a:gd name="connsiteY15" fmla="*/ 294485 h 547879"/>
              <a:gd name="connsiteX16" fmla="*/ 465697 w 547879"/>
              <a:gd name="connsiteY16" fmla="*/ 294485 h 547879"/>
              <a:gd name="connsiteX17" fmla="*/ 465697 w 547879"/>
              <a:gd name="connsiteY17" fmla="*/ 342424 h 547879"/>
              <a:gd name="connsiteX18" fmla="*/ 527334 w 547879"/>
              <a:gd name="connsiteY18" fmla="*/ 342424 h 547879"/>
              <a:gd name="connsiteX19" fmla="*/ 547693 w 547879"/>
              <a:gd name="connsiteY19" fmla="*/ 360181 h 547879"/>
              <a:gd name="connsiteX20" fmla="*/ 547879 w 547879"/>
              <a:gd name="connsiteY20" fmla="*/ 362970 h 547879"/>
              <a:gd name="connsiteX21" fmla="*/ 530122 w 547879"/>
              <a:gd name="connsiteY21" fmla="*/ 383329 h 547879"/>
              <a:gd name="connsiteX22" fmla="*/ 527334 w 547879"/>
              <a:gd name="connsiteY22" fmla="*/ 383515 h 547879"/>
              <a:gd name="connsiteX23" fmla="*/ 463637 w 547879"/>
              <a:gd name="connsiteY23" fmla="*/ 383537 h 547879"/>
              <a:gd name="connsiteX24" fmla="*/ 383529 w 547879"/>
              <a:gd name="connsiteY24" fmla="*/ 463640 h 547879"/>
              <a:gd name="connsiteX25" fmla="*/ 383515 w 547879"/>
              <a:gd name="connsiteY25" fmla="*/ 527334 h 547879"/>
              <a:gd name="connsiteX26" fmla="*/ 362970 w 547879"/>
              <a:gd name="connsiteY26" fmla="*/ 547879 h 547879"/>
              <a:gd name="connsiteX27" fmla="*/ 342611 w 547879"/>
              <a:gd name="connsiteY27" fmla="*/ 530122 h 547879"/>
              <a:gd name="connsiteX28" fmla="*/ 342424 w 547879"/>
              <a:gd name="connsiteY28" fmla="*/ 527334 h 547879"/>
              <a:gd name="connsiteX29" fmla="*/ 342424 w 547879"/>
              <a:gd name="connsiteY29" fmla="*/ 465670 h 547879"/>
              <a:gd name="connsiteX30" fmla="*/ 294458 w 547879"/>
              <a:gd name="connsiteY30" fmla="*/ 465670 h 547879"/>
              <a:gd name="connsiteX31" fmla="*/ 294485 w 547879"/>
              <a:gd name="connsiteY31" fmla="*/ 527334 h 547879"/>
              <a:gd name="connsiteX32" fmla="*/ 276728 w 547879"/>
              <a:gd name="connsiteY32" fmla="*/ 547693 h 547879"/>
              <a:gd name="connsiteX33" fmla="*/ 273940 w 547879"/>
              <a:gd name="connsiteY33" fmla="*/ 547879 h 547879"/>
              <a:gd name="connsiteX34" fmla="*/ 253580 w 547879"/>
              <a:gd name="connsiteY34" fmla="*/ 530122 h 547879"/>
              <a:gd name="connsiteX35" fmla="*/ 253394 w 547879"/>
              <a:gd name="connsiteY35" fmla="*/ 527334 h 547879"/>
              <a:gd name="connsiteX36" fmla="*/ 253367 w 547879"/>
              <a:gd name="connsiteY36" fmla="*/ 465670 h 547879"/>
              <a:gd name="connsiteX37" fmla="*/ 205455 w 547879"/>
              <a:gd name="connsiteY37" fmla="*/ 465670 h 547879"/>
              <a:gd name="connsiteX38" fmla="*/ 205455 w 547879"/>
              <a:gd name="connsiteY38" fmla="*/ 527334 h 547879"/>
              <a:gd name="connsiteX39" fmla="*/ 187697 w 547879"/>
              <a:gd name="connsiteY39" fmla="*/ 547693 h 547879"/>
              <a:gd name="connsiteX40" fmla="*/ 184909 w 547879"/>
              <a:gd name="connsiteY40" fmla="*/ 547879 h 547879"/>
              <a:gd name="connsiteX41" fmla="*/ 164551 w 547879"/>
              <a:gd name="connsiteY41" fmla="*/ 530122 h 547879"/>
              <a:gd name="connsiteX42" fmla="*/ 164364 w 547879"/>
              <a:gd name="connsiteY42" fmla="*/ 527334 h 547879"/>
              <a:gd name="connsiteX43" fmla="*/ 164376 w 547879"/>
              <a:gd name="connsiteY43" fmla="*/ 463646 h 547879"/>
              <a:gd name="connsiteX44" fmla="*/ 84237 w 547879"/>
              <a:gd name="connsiteY44" fmla="*/ 383515 h 547879"/>
              <a:gd name="connsiteX45" fmla="*/ 20545 w 547879"/>
              <a:gd name="connsiteY45" fmla="*/ 383515 h 547879"/>
              <a:gd name="connsiteX46" fmla="*/ 0 w 547879"/>
              <a:gd name="connsiteY46" fmla="*/ 362970 h 547879"/>
              <a:gd name="connsiteX47" fmla="*/ 17758 w 547879"/>
              <a:gd name="connsiteY47" fmla="*/ 342611 h 547879"/>
              <a:gd name="connsiteX48" fmla="*/ 20545 w 547879"/>
              <a:gd name="connsiteY48" fmla="*/ 342424 h 547879"/>
              <a:gd name="connsiteX49" fmla="*/ 82182 w 547879"/>
              <a:gd name="connsiteY49" fmla="*/ 342397 h 547879"/>
              <a:gd name="connsiteX50" fmla="*/ 82182 w 547879"/>
              <a:gd name="connsiteY50" fmla="*/ 294458 h 547879"/>
              <a:gd name="connsiteX51" fmla="*/ 20545 w 547879"/>
              <a:gd name="connsiteY51" fmla="*/ 294485 h 547879"/>
              <a:gd name="connsiteX52" fmla="*/ 188 w 547879"/>
              <a:gd name="connsiteY52" fmla="*/ 276728 h 547879"/>
              <a:gd name="connsiteX53" fmla="*/ 0 w 547879"/>
              <a:gd name="connsiteY53" fmla="*/ 273940 h 547879"/>
              <a:gd name="connsiteX54" fmla="*/ 17758 w 547879"/>
              <a:gd name="connsiteY54" fmla="*/ 253580 h 547879"/>
              <a:gd name="connsiteX55" fmla="*/ 20545 w 547879"/>
              <a:gd name="connsiteY55" fmla="*/ 253394 h 547879"/>
              <a:gd name="connsiteX56" fmla="*/ 82182 w 547879"/>
              <a:gd name="connsiteY56" fmla="*/ 253367 h 547879"/>
              <a:gd name="connsiteX57" fmla="*/ 82182 w 547879"/>
              <a:gd name="connsiteY57" fmla="*/ 205427 h 547879"/>
              <a:gd name="connsiteX58" fmla="*/ 20545 w 547879"/>
              <a:gd name="connsiteY58" fmla="*/ 205455 h 547879"/>
              <a:gd name="connsiteX59" fmla="*/ 188 w 547879"/>
              <a:gd name="connsiteY59" fmla="*/ 187697 h 547879"/>
              <a:gd name="connsiteX60" fmla="*/ 0 w 547879"/>
              <a:gd name="connsiteY60" fmla="*/ 184909 h 547879"/>
              <a:gd name="connsiteX61" fmla="*/ 17758 w 547879"/>
              <a:gd name="connsiteY61" fmla="*/ 164551 h 547879"/>
              <a:gd name="connsiteX62" fmla="*/ 20545 w 547879"/>
              <a:gd name="connsiteY62" fmla="*/ 164364 h 547879"/>
              <a:gd name="connsiteX63" fmla="*/ 84242 w 547879"/>
              <a:gd name="connsiteY63" fmla="*/ 164337 h 547879"/>
              <a:gd name="connsiteX64" fmla="*/ 164376 w 547879"/>
              <a:gd name="connsiteY64" fmla="*/ 84234 h 547879"/>
              <a:gd name="connsiteX65" fmla="*/ 164364 w 547879"/>
              <a:gd name="connsiteY65" fmla="*/ 20545 h 547879"/>
              <a:gd name="connsiteX66" fmla="*/ 184909 w 547879"/>
              <a:gd name="connsiteY66" fmla="*/ 0 h 547879"/>
              <a:gd name="connsiteX67" fmla="*/ 205267 w 547879"/>
              <a:gd name="connsiteY67" fmla="*/ 17758 h 547879"/>
              <a:gd name="connsiteX68" fmla="*/ 205455 w 547879"/>
              <a:gd name="connsiteY68" fmla="*/ 20545 h 547879"/>
              <a:gd name="connsiteX69" fmla="*/ 205455 w 547879"/>
              <a:gd name="connsiteY69" fmla="*/ 82154 h 547879"/>
              <a:gd name="connsiteX70" fmla="*/ 253367 w 547879"/>
              <a:gd name="connsiteY70" fmla="*/ 82154 h 547879"/>
              <a:gd name="connsiteX71" fmla="*/ 253394 w 547879"/>
              <a:gd name="connsiteY71" fmla="*/ 20545 h 547879"/>
              <a:gd name="connsiteX72" fmla="*/ 271151 w 547879"/>
              <a:gd name="connsiteY72" fmla="*/ 188 h 547879"/>
              <a:gd name="connsiteX73" fmla="*/ 273940 w 547879"/>
              <a:gd name="connsiteY73" fmla="*/ 0 h 547879"/>
              <a:gd name="connsiteX74" fmla="*/ 294299 w 547879"/>
              <a:gd name="connsiteY74" fmla="*/ 17758 h 547879"/>
              <a:gd name="connsiteX75" fmla="*/ 294485 w 547879"/>
              <a:gd name="connsiteY75" fmla="*/ 20545 h 547879"/>
              <a:gd name="connsiteX76" fmla="*/ 294458 w 547879"/>
              <a:gd name="connsiteY76" fmla="*/ 82154 h 547879"/>
              <a:gd name="connsiteX77" fmla="*/ 342424 w 547879"/>
              <a:gd name="connsiteY77" fmla="*/ 82154 h 547879"/>
              <a:gd name="connsiteX78" fmla="*/ 342424 w 547879"/>
              <a:gd name="connsiteY78" fmla="*/ 20545 h 547879"/>
              <a:gd name="connsiteX79" fmla="*/ 357508 w 547879"/>
              <a:gd name="connsiteY79" fmla="*/ 734 h 547879"/>
              <a:gd name="connsiteX80" fmla="*/ 360181 w 547879"/>
              <a:gd name="connsiteY80" fmla="*/ 188 h 547879"/>
              <a:gd name="connsiteX81" fmla="*/ 362970 w 547879"/>
              <a:gd name="connsiteY81" fmla="*/ 0 h 547879"/>
              <a:gd name="connsiteX82" fmla="*/ 362970 w 547879"/>
              <a:gd name="connsiteY82" fmla="*/ 123273 h 547879"/>
              <a:gd name="connsiteX83" fmla="*/ 184909 w 547879"/>
              <a:gd name="connsiteY83" fmla="*/ 123273 h 547879"/>
              <a:gd name="connsiteX84" fmla="*/ 123273 w 547879"/>
              <a:gd name="connsiteY84" fmla="*/ 184909 h 547879"/>
              <a:gd name="connsiteX85" fmla="*/ 123273 w 547879"/>
              <a:gd name="connsiteY85" fmla="*/ 362970 h 547879"/>
              <a:gd name="connsiteX86" fmla="*/ 184909 w 547879"/>
              <a:gd name="connsiteY86" fmla="*/ 424606 h 547879"/>
              <a:gd name="connsiteX87" fmla="*/ 362970 w 547879"/>
              <a:gd name="connsiteY87" fmla="*/ 424606 h 547879"/>
              <a:gd name="connsiteX88" fmla="*/ 424606 w 547879"/>
              <a:gd name="connsiteY88" fmla="*/ 362970 h 547879"/>
              <a:gd name="connsiteX89" fmla="*/ 424606 w 547879"/>
              <a:gd name="connsiteY89" fmla="*/ 184909 h 547879"/>
              <a:gd name="connsiteX90" fmla="*/ 362970 w 547879"/>
              <a:gd name="connsiteY90" fmla="*/ 123273 h 547879"/>
              <a:gd name="connsiteX91" fmla="*/ 274074 w 547879"/>
              <a:gd name="connsiteY91" fmla="*/ 191893 h 547879"/>
              <a:gd name="connsiteX92" fmla="*/ 356256 w 547879"/>
              <a:gd name="connsiteY92" fmla="*/ 274074 h 547879"/>
              <a:gd name="connsiteX93" fmla="*/ 274074 w 547879"/>
              <a:gd name="connsiteY93" fmla="*/ 356256 h 547879"/>
              <a:gd name="connsiteX94" fmla="*/ 191893 w 547879"/>
              <a:gd name="connsiteY94" fmla="*/ 274074 h 547879"/>
              <a:gd name="connsiteX95" fmla="*/ 274074 w 547879"/>
              <a:gd name="connsiteY95" fmla="*/ 191893 h 547879"/>
              <a:gd name="connsiteX96" fmla="*/ 274074 w 547879"/>
              <a:gd name="connsiteY96" fmla="*/ 232983 h 547879"/>
              <a:gd name="connsiteX97" fmla="*/ 232983 w 547879"/>
              <a:gd name="connsiteY97" fmla="*/ 274074 h 547879"/>
              <a:gd name="connsiteX98" fmla="*/ 274074 w 547879"/>
              <a:gd name="connsiteY98" fmla="*/ 315165 h 547879"/>
              <a:gd name="connsiteX99" fmla="*/ 315165 w 547879"/>
              <a:gd name="connsiteY99" fmla="*/ 274074 h 547879"/>
              <a:gd name="connsiteX100" fmla="*/ 274074 w 547879"/>
              <a:gd name="connsiteY100" fmla="*/ 232983 h 547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</a:cxnLst>
            <a:rect l="l" t="t" r="r" b="b"/>
            <a:pathLst>
              <a:path w="547879" h="547879">
                <a:moveTo>
                  <a:pt x="362970" y="0"/>
                </a:moveTo>
                <a:cubicBezTo>
                  <a:pt x="373371" y="0"/>
                  <a:pt x="381968" y="7729"/>
                  <a:pt x="383329" y="17758"/>
                </a:cubicBezTo>
                <a:lnTo>
                  <a:pt x="383515" y="20545"/>
                </a:lnTo>
                <a:lnTo>
                  <a:pt x="383529" y="84240"/>
                </a:lnTo>
                <a:cubicBezTo>
                  <a:pt x="423776" y="92415"/>
                  <a:pt x="455477" y="124120"/>
                  <a:pt x="463643" y="164369"/>
                </a:cubicBezTo>
                <a:lnTo>
                  <a:pt x="527334" y="164364"/>
                </a:lnTo>
                <a:cubicBezTo>
                  <a:pt x="538680" y="164364"/>
                  <a:pt x="547879" y="173562"/>
                  <a:pt x="547879" y="184909"/>
                </a:cubicBezTo>
                <a:cubicBezTo>
                  <a:pt x="547879" y="195311"/>
                  <a:pt x="540149" y="203907"/>
                  <a:pt x="530122" y="205267"/>
                </a:cubicBezTo>
                <a:lnTo>
                  <a:pt x="527334" y="205455"/>
                </a:lnTo>
                <a:lnTo>
                  <a:pt x="465697" y="205455"/>
                </a:lnTo>
                <a:lnTo>
                  <a:pt x="465697" y="253394"/>
                </a:lnTo>
                <a:lnTo>
                  <a:pt x="527334" y="253394"/>
                </a:lnTo>
                <a:cubicBezTo>
                  <a:pt x="537735" y="253394"/>
                  <a:pt x="546331" y="261125"/>
                  <a:pt x="547693" y="271151"/>
                </a:cubicBezTo>
                <a:lnTo>
                  <a:pt x="547879" y="273940"/>
                </a:lnTo>
                <a:cubicBezTo>
                  <a:pt x="547879" y="284341"/>
                  <a:pt x="540149" y="292937"/>
                  <a:pt x="530122" y="294299"/>
                </a:cubicBezTo>
                <a:lnTo>
                  <a:pt x="527334" y="294485"/>
                </a:lnTo>
                <a:lnTo>
                  <a:pt x="465697" y="294485"/>
                </a:lnTo>
                <a:lnTo>
                  <a:pt x="465697" y="342424"/>
                </a:lnTo>
                <a:lnTo>
                  <a:pt x="527334" y="342424"/>
                </a:lnTo>
                <a:cubicBezTo>
                  <a:pt x="537735" y="342424"/>
                  <a:pt x="546331" y="350155"/>
                  <a:pt x="547693" y="360181"/>
                </a:cubicBezTo>
                <a:lnTo>
                  <a:pt x="547879" y="362970"/>
                </a:lnTo>
                <a:cubicBezTo>
                  <a:pt x="547879" y="373371"/>
                  <a:pt x="540149" y="381968"/>
                  <a:pt x="530122" y="383329"/>
                </a:cubicBezTo>
                <a:lnTo>
                  <a:pt x="527334" y="383515"/>
                </a:lnTo>
                <a:lnTo>
                  <a:pt x="463637" y="383537"/>
                </a:lnTo>
                <a:cubicBezTo>
                  <a:pt x="455460" y="423774"/>
                  <a:pt x="423768" y="455466"/>
                  <a:pt x="383529" y="463640"/>
                </a:cubicBezTo>
                <a:lnTo>
                  <a:pt x="383515" y="527334"/>
                </a:lnTo>
                <a:cubicBezTo>
                  <a:pt x="383515" y="538680"/>
                  <a:pt x="374317" y="547879"/>
                  <a:pt x="362970" y="547879"/>
                </a:cubicBezTo>
                <a:cubicBezTo>
                  <a:pt x="352568" y="547879"/>
                  <a:pt x="343972" y="540149"/>
                  <a:pt x="342611" y="530122"/>
                </a:cubicBezTo>
                <a:lnTo>
                  <a:pt x="342424" y="527334"/>
                </a:lnTo>
                <a:lnTo>
                  <a:pt x="342424" y="465670"/>
                </a:lnTo>
                <a:lnTo>
                  <a:pt x="294458" y="465670"/>
                </a:lnTo>
                <a:lnTo>
                  <a:pt x="294485" y="527334"/>
                </a:lnTo>
                <a:cubicBezTo>
                  <a:pt x="294485" y="537735"/>
                  <a:pt x="286754" y="546331"/>
                  <a:pt x="276728" y="547693"/>
                </a:cubicBezTo>
                <a:lnTo>
                  <a:pt x="273940" y="547879"/>
                </a:lnTo>
                <a:cubicBezTo>
                  <a:pt x="263538" y="547879"/>
                  <a:pt x="254942" y="540149"/>
                  <a:pt x="253580" y="530122"/>
                </a:cubicBezTo>
                <a:lnTo>
                  <a:pt x="253394" y="527334"/>
                </a:lnTo>
                <a:lnTo>
                  <a:pt x="253367" y="465670"/>
                </a:lnTo>
                <a:lnTo>
                  <a:pt x="205455" y="465670"/>
                </a:lnTo>
                <a:lnTo>
                  <a:pt x="205455" y="527334"/>
                </a:lnTo>
                <a:cubicBezTo>
                  <a:pt x="205455" y="537735"/>
                  <a:pt x="197725" y="546331"/>
                  <a:pt x="187697" y="547693"/>
                </a:cubicBezTo>
                <a:lnTo>
                  <a:pt x="184909" y="547879"/>
                </a:lnTo>
                <a:cubicBezTo>
                  <a:pt x="174508" y="547879"/>
                  <a:pt x="165912" y="540149"/>
                  <a:pt x="164551" y="530122"/>
                </a:cubicBezTo>
                <a:lnTo>
                  <a:pt x="164364" y="527334"/>
                </a:lnTo>
                <a:lnTo>
                  <a:pt x="164376" y="463646"/>
                </a:lnTo>
                <a:cubicBezTo>
                  <a:pt x="124119" y="455479"/>
                  <a:pt x="92408" y="423771"/>
                  <a:pt x="84237" y="383515"/>
                </a:cubicBezTo>
                <a:lnTo>
                  <a:pt x="20545" y="383515"/>
                </a:lnTo>
                <a:cubicBezTo>
                  <a:pt x="9199" y="383515"/>
                  <a:pt x="0" y="374317"/>
                  <a:pt x="0" y="362970"/>
                </a:cubicBezTo>
                <a:cubicBezTo>
                  <a:pt x="0" y="352568"/>
                  <a:pt x="7729" y="343972"/>
                  <a:pt x="17758" y="342611"/>
                </a:cubicBezTo>
                <a:lnTo>
                  <a:pt x="20545" y="342424"/>
                </a:lnTo>
                <a:lnTo>
                  <a:pt x="82182" y="342397"/>
                </a:lnTo>
                <a:lnTo>
                  <a:pt x="82182" y="294458"/>
                </a:lnTo>
                <a:lnTo>
                  <a:pt x="20545" y="294485"/>
                </a:lnTo>
                <a:cubicBezTo>
                  <a:pt x="10144" y="294485"/>
                  <a:pt x="1548" y="286754"/>
                  <a:pt x="188" y="276728"/>
                </a:cubicBezTo>
                <a:lnTo>
                  <a:pt x="0" y="273940"/>
                </a:lnTo>
                <a:cubicBezTo>
                  <a:pt x="0" y="263538"/>
                  <a:pt x="7729" y="254942"/>
                  <a:pt x="17758" y="253580"/>
                </a:cubicBezTo>
                <a:lnTo>
                  <a:pt x="20545" y="253394"/>
                </a:lnTo>
                <a:lnTo>
                  <a:pt x="82182" y="253367"/>
                </a:lnTo>
                <a:lnTo>
                  <a:pt x="82182" y="205427"/>
                </a:lnTo>
                <a:lnTo>
                  <a:pt x="20545" y="205455"/>
                </a:lnTo>
                <a:cubicBezTo>
                  <a:pt x="10144" y="205455"/>
                  <a:pt x="1548" y="197725"/>
                  <a:pt x="188" y="187697"/>
                </a:cubicBezTo>
                <a:lnTo>
                  <a:pt x="0" y="184909"/>
                </a:lnTo>
                <a:cubicBezTo>
                  <a:pt x="0" y="174508"/>
                  <a:pt x="7729" y="165912"/>
                  <a:pt x="17758" y="164551"/>
                </a:cubicBezTo>
                <a:lnTo>
                  <a:pt x="20545" y="164364"/>
                </a:lnTo>
                <a:lnTo>
                  <a:pt x="84242" y="164337"/>
                </a:lnTo>
                <a:cubicBezTo>
                  <a:pt x="92422" y="124095"/>
                  <a:pt x="124128" y="92399"/>
                  <a:pt x="164376" y="84234"/>
                </a:cubicBezTo>
                <a:lnTo>
                  <a:pt x="164364" y="20545"/>
                </a:lnTo>
                <a:cubicBezTo>
                  <a:pt x="164364" y="9199"/>
                  <a:pt x="173562" y="0"/>
                  <a:pt x="184909" y="0"/>
                </a:cubicBezTo>
                <a:cubicBezTo>
                  <a:pt x="195311" y="0"/>
                  <a:pt x="203907" y="7729"/>
                  <a:pt x="205267" y="17758"/>
                </a:cubicBezTo>
                <a:lnTo>
                  <a:pt x="205455" y="20545"/>
                </a:lnTo>
                <a:lnTo>
                  <a:pt x="205455" y="82154"/>
                </a:lnTo>
                <a:lnTo>
                  <a:pt x="253367" y="82154"/>
                </a:lnTo>
                <a:lnTo>
                  <a:pt x="253394" y="20545"/>
                </a:lnTo>
                <a:cubicBezTo>
                  <a:pt x="253394" y="10144"/>
                  <a:pt x="261125" y="1548"/>
                  <a:pt x="271151" y="188"/>
                </a:cubicBezTo>
                <a:lnTo>
                  <a:pt x="273940" y="0"/>
                </a:lnTo>
                <a:cubicBezTo>
                  <a:pt x="284341" y="0"/>
                  <a:pt x="292937" y="7729"/>
                  <a:pt x="294299" y="17758"/>
                </a:cubicBezTo>
                <a:lnTo>
                  <a:pt x="294485" y="20545"/>
                </a:lnTo>
                <a:lnTo>
                  <a:pt x="294458" y="82154"/>
                </a:lnTo>
                <a:lnTo>
                  <a:pt x="342424" y="82154"/>
                </a:lnTo>
                <a:lnTo>
                  <a:pt x="342424" y="20545"/>
                </a:lnTo>
                <a:cubicBezTo>
                  <a:pt x="342424" y="11090"/>
                  <a:pt x="348813" y="3126"/>
                  <a:pt x="357508" y="734"/>
                </a:cubicBezTo>
                <a:lnTo>
                  <a:pt x="360181" y="188"/>
                </a:lnTo>
                <a:lnTo>
                  <a:pt x="362970" y="0"/>
                </a:lnTo>
                <a:close/>
                <a:moveTo>
                  <a:pt x="362970" y="123273"/>
                </a:moveTo>
                <a:lnTo>
                  <a:pt x="184909" y="123273"/>
                </a:lnTo>
                <a:cubicBezTo>
                  <a:pt x="150868" y="123273"/>
                  <a:pt x="123273" y="150868"/>
                  <a:pt x="123273" y="184909"/>
                </a:cubicBezTo>
                <a:lnTo>
                  <a:pt x="123273" y="362970"/>
                </a:lnTo>
                <a:cubicBezTo>
                  <a:pt x="123273" y="397010"/>
                  <a:pt x="150868" y="424606"/>
                  <a:pt x="184909" y="424606"/>
                </a:cubicBezTo>
                <a:lnTo>
                  <a:pt x="362970" y="424606"/>
                </a:lnTo>
                <a:cubicBezTo>
                  <a:pt x="397010" y="424606"/>
                  <a:pt x="424606" y="397010"/>
                  <a:pt x="424606" y="362970"/>
                </a:cubicBezTo>
                <a:lnTo>
                  <a:pt x="424606" y="184909"/>
                </a:lnTo>
                <a:cubicBezTo>
                  <a:pt x="424606" y="150868"/>
                  <a:pt x="397010" y="123273"/>
                  <a:pt x="362970" y="123273"/>
                </a:cubicBezTo>
                <a:close/>
                <a:moveTo>
                  <a:pt x="274074" y="191893"/>
                </a:moveTo>
                <a:cubicBezTo>
                  <a:pt x="319463" y="191893"/>
                  <a:pt x="356256" y="228688"/>
                  <a:pt x="356256" y="274074"/>
                </a:cubicBezTo>
                <a:cubicBezTo>
                  <a:pt x="356256" y="319463"/>
                  <a:pt x="319463" y="356256"/>
                  <a:pt x="274074" y="356256"/>
                </a:cubicBezTo>
                <a:cubicBezTo>
                  <a:pt x="228688" y="356256"/>
                  <a:pt x="191893" y="319463"/>
                  <a:pt x="191893" y="274074"/>
                </a:cubicBezTo>
                <a:cubicBezTo>
                  <a:pt x="191893" y="228688"/>
                  <a:pt x="228688" y="191893"/>
                  <a:pt x="274074" y="191893"/>
                </a:cubicBezTo>
                <a:close/>
                <a:moveTo>
                  <a:pt x="274074" y="232983"/>
                </a:moveTo>
                <a:cubicBezTo>
                  <a:pt x="251381" y="232983"/>
                  <a:pt x="232983" y="251381"/>
                  <a:pt x="232983" y="274074"/>
                </a:cubicBezTo>
                <a:cubicBezTo>
                  <a:pt x="232983" y="296770"/>
                  <a:pt x="251381" y="315165"/>
                  <a:pt x="274074" y="315165"/>
                </a:cubicBezTo>
                <a:cubicBezTo>
                  <a:pt x="296770" y="315165"/>
                  <a:pt x="315165" y="296770"/>
                  <a:pt x="315165" y="274074"/>
                </a:cubicBezTo>
                <a:cubicBezTo>
                  <a:pt x="315165" y="251381"/>
                  <a:pt x="296770" y="232983"/>
                  <a:pt x="274074" y="232983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8" name="Graphic 56" descr="Arrow Trending Up&#10;Keyword: fluent-icon;&#10;Metaphor: arrow, direction, growth, ascending;&#10;Direction: mirror;&#10;&#10;Used to indicate growth.">
            <a:extLst>
              <a:ext uri="{FF2B5EF4-FFF2-40B4-BE49-F238E27FC236}">
                <a16:creationId xmlns:a16="http://schemas.microsoft.com/office/drawing/2014/main" id="{FBFF1C9E-52A9-5FC1-1BD0-D3F8377FAB6E}"/>
              </a:ext>
            </a:extLst>
          </p:cNvPr>
          <p:cNvSpPr/>
          <p:nvPr/>
        </p:nvSpPr>
        <p:spPr>
          <a:xfrm>
            <a:off x="2557514" y="3266650"/>
            <a:ext cx="547819" cy="383474"/>
          </a:xfrm>
          <a:custGeom>
            <a:avLst/>
            <a:gdLst>
              <a:gd name="connsiteX0" fmla="*/ 328758 w 547819"/>
              <a:gd name="connsiteY0" fmla="*/ 0 h 383474"/>
              <a:gd name="connsiteX1" fmla="*/ 520425 w 547819"/>
              <a:gd name="connsiteY1" fmla="*/ 0 h 383474"/>
              <a:gd name="connsiteX2" fmla="*/ 547636 w 547819"/>
              <a:gd name="connsiteY2" fmla="*/ 24199 h 383474"/>
              <a:gd name="connsiteX3" fmla="*/ 547819 w 547819"/>
              <a:gd name="connsiteY3" fmla="*/ 27394 h 383474"/>
              <a:gd name="connsiteX4" fmla="*/ 547819 w 547819"/>
              <a:gd name="connsiteY4" fmla="*/ 219152 h 383474"/>
              <a:gd name="connsiteX5" fmla="*/ 520425 w 547819"/>
              <a:gd name="connsiteY5" fmla="*/ 246546 h 383474"/>
              <a:gd name="connsiteX6" fmla="*/ 493215 w 547819"/>
              <a:gd name="connsiteY6" fmla="*/ 222346 h 383474"/>
              <a:gd name="connsiteX7" fmla="*/ 493031 w 547819"/>
              <a:gd name="connsiteY7" fmla="*/ 219152 h 383474"/>
              <a:gd name="connsiteX8" fmla="*/ 493009 w 547819"/>
              <a:gd name="connsiteY8" fmla="*/ 93523 h 383474"/>
              <a:gd name="connsiteX9" fmla="*/ 293250 w 547819"/>
              <a:gd name="connsiteY9" fmla="*/ 293310 h 383474"/>
              <a:gd name="connsiteX10" fmla="*/ 257106 w 547819"/>
              <a:gd name="connsiteY10" fmla="*/ 295603 h 383474"/>
              <a:gd name="connsiteX11" fmla="*/ 254526 w 547819"/>
              <a:gd name="connsiteY11" fmla="*/ 293326 h 383474"/>
              <a:gd name="connsiteX12" fmla="*/ 191629 w 547819"/>
              <a:gd name="connsiteY12" fmla="*/ 230539 h 383474"/>
              <a:gd name="connsiteX13" fmla="*/ 46768 w 547819"/>
              <a:gd name="connsiteY13" fmla="*/ 375448 h 383474"/>
              <a:gd name="connsiteX14" fmla="*/ 8027 w 547819"/>
              <a:gd name="connsiteY14" fmla="*/ 375453 h 383474"/>
              <a:gd name="connsiteX15" fmla="*/ 5742 w 547819"/>
              <a:gd name="connsiteY15" fmla="*/ 339293 h 383474"/>
              <a:gd name="connsiteX16" fmla="*/ 8021 w 547819"/>
              <a:gd name="connsiteY16" fmla="*/ 336713 h 383474"/>
              <a:gd name="connsiteX17" fmla="*/ 172236 w 547819"/>
              <a:gd name="connsiteY17" fmla="*/ 172445 h 383474"/>
              <a:gd name="connsiteX18" fmla="*/ 208382 w 547819"/>
              <a:gd name="connsiteY18" fmla="*/ 170149 h 383474"/>
              <a:gd name="connsiteX19" fmla="*/ 210963 w 547819"/>
              <a:gd name="connsiteY19" fmla="*/ 172426 h 383474"/>
              <a:gd name="connsiteX20" fmla="*/ 273863 w 547819"/>
              <a:gd name="connsiteY20" fmla="*/ 235215 h 383474"/>
              <a:gd name="connsiteX21" fmla="*/ 454247 w 547819"/>
              <a:gd name="connsiteY21" fmla="*/ 54788 h 383474"/>
              <a:gd name="connsiteX22" fmla="*/ 328758 w 547819"/>
              <a:gd name="connsiteY22" fmla="*/ 54788 h 383474"/>
              <a:gd name="connsiteX23" fmla="*/ 301547 w 547819"/>
              <a:gd name="connsiteY23" fmla="*/ 30589 h 383474"/>
              <a:gd name="connsiteX24" fmla="*/ 301364 w 547819"/>
              <a:gd name="connsiteY24" fmla="*/ 27394 h 383474"/>
              <a:gd name="connsiteX25" fmla="*/ 325561 w 547819"/>
              <a:gd name="connsiteY25" fmla="*/ 184 h 383474"/>
              <a:gd name="connsiteX26" fmla="*/ 328758 w 547819"/>
              <a:gd name="connsiteY26" fmla="*/ 0 h 383474"/>
              <a:gd name="connsiteX27" fmla="*/ 520425 w 547819"/>
              <a:gd name="connsiteY27" fmla="*/ 0 h 383474"/>
              <a:gd name="connsiteX28" fmla="*/ 328758 w 547819"/>
              <a:gd name="connsiteY28" fmla="*/ 0 h 3834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47819" h="383474">
                <a:moveTo>
                  <a:pt x="328758" y="0"/>
                </a:moveTo>
                <a:lnTo>
                  <a:pt x="520425" y="0"/>
                </a:lnTo>
                <a:cubicBezTo>
                  <a:pt x="534473" y="0"/>
                  <a:pt x="546052" y="10575"/>
                  <a:pt x="547636" y="24199"/>
                </a:cubicBezTo>
                <a:lnTo>
                  <a:pt x="547819" y="27394"/>
                </a:lnTo>
                <a:lnTo>
                  <a:pt x="547819" y="219152"/>
                </a:lnTo>
                <a:cubicBezTo>
                  <a:pt x="547819" y="234281"/>
                  <a:pt x="535555" y="246546"/>
                  <a:pt x="520425" y="246546"/>
                </a:cubicBezTo>
                <a:cubicBezTo>
                  <a:pt x="506377" y="246546"/>
                  <a:pt x="494798" y="235972"/>
                  <a:pt x="493215" y="222346"/>
                </a:cubicBezTo>
                <a:lnTo>
                  <a:pt x="493031" y="219152"/>
                </a:lnTo>
                <a:lnTo>
                  <a:pt x="493009" y="93523"/>
                </a:lnTo>
                <a:lnTo>
                  <a:pt x="293250" y="293310"/>
                </a:lnTo>
                <a:cubicBezTo>
                  <a:pt x="283380" y="303180"/>
                  <a:pt x="267853" y="303944"/>
                  <a:pt x="257106" y="295603"/>
                </a:cubicBezTo>
                <a:lnTo>
                  <a:pt x="254526" y="293326"/>
                </a:lnTo>
                <a:lnTo>
                  <a:pt x="191629" y="230539"/>
                </a:lnTo>
                <a:lnTo>
                  <a:pt x="46768" y="375448"/>
                </a:lnTo>
                <a:cubicBezTo>
                  <a:pt x="36071" y="386148"/>
                  <a:pt x="18726" y="386151"/>
                  <a:pt x="8027" y="375453"/>
                </a:cubicBezTo>
                <a:cubicBezTo>
                  <a:pt x="-1850" y="365581"/>
                  <a:pt x="-2612" y="350043"/>
                  <a:pt x="5742" y="339293"/>
                </a:cubicBezTo>
                <a:lnTo>
                  <a:pt x="8021" y="336713"/>
                </a:lnTo>
                <a:lnTo>
                  <a:pt x="172236" y="172445"/>
                </a:lnTo>
                <a:cubicBezTo>
                  <a:pt x="182104" y="162572"/>
                  <a:pt x="197634" y="161805"/>
                  <a:pt x="208382" y="170149"/>
                </a:cubicBezTo>
                <a:lnTo>
                  <a:pt x="210963" y="172426"/>
                </a:lnTo>
                <a:lnTo>
                  <a:pt x="273863" y="235215"/>
                </a:lnTo>
                <a:lnTo>
                  <a:pt x="454247" y="54788"/>
                </a:lnTo>
                <a:lnTo>
                  <a:pt x="328758" y="54788"/>
                </a:lnTo>
                <a:cubicBezTo>
                  <a:pt x="314707" y="54788"/>
                  <a:pt x="303131" y="44213"/>
                  <a:pt x="301547" y="30589"/>
                </a:cubicBezTo>
                <a:lnTo>
                  <a:pt x="301364" y="27394"/>
                </a:lnTo>
                <a:cubicBezTo>
                  <a:pt x="301364" y="13345"/>
                  <a:pt x="311938" y="1767"/>
                  <a:pt x="325561" y="184"/>
                </a:cubicBezTo>
                <a:lnTo>
                  <a:pt x="328758" y="0"/>
                </a:lnTo>
                <a:lnTo>
                  <a:pt x="520425" y="0"/>
                </a:lnTo>
                <a:lnTo>
                  <a:pt x="328758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9" name="Graphic 58" descr="Airplane Take Off&#10;Keyword: fluent-icon;&#10;Metaphor: flight, vehicle, travel, take off;&#10;&#10;Used for lift off time and general travel.">
            <a:extLst>
              <a:ext uri="{FF2B5EF4-FFF2-40B4-BE49-F238E27FC236}">
                <a16:creationId xmlns:a16="http://schemas.microsoft.com/office/drawing/2014/main" id="{2D37A05B-A0EE-2477-B7FF-98E5944AE82D}"/>
              </a:ext>
            </a:extLst>
          </p:cNvPr>
          <p:cNvSpPr/>
          <p:nvPr/>
        </p:nvSpPr>
        <p:spPr>
          <a:xfrm>
            <a:off x="3517776" y="3225559"/>
            <a:ext cx="521261" cy="465697"/>
          </a:xfrm>
          <a:custGeom>
            <a:avLst/>
            <a:gdLst>
              <a:gd name="connsiteX0" fmla="*/ 145613 w 521261"/>
              <a:gd name="connsiteY0" fmla="*/ 120757 h 465697"/>
              <a:gd name="connsiteX1" fmla="*/ 124468 w 521261"/>
              <a:gd name="connsiteY1" fmla="*/ 89889 h 465697"/>
              <a:gd name="connsiteX2" fmla="*/ 171850 w 521261"/>
              <a:gd name="connsiteY2" fmla="*/ 0 h 465697"/>
              <a:gd name="connsiteX3" fmla="*/ 207986 w 521261"/>
              <a:gd name="connsiteY3" fmla="*/ 12793 h 465697"/>
              <a:gd name="connsiteX4" fmla="*/ 278684 w 521261"/>
              <a:gd name="connsiteY4" fmla="*/ 70024 h 465697"/>
              <a:gd name="connsiteX5" fmla="*/ 308549 w 521261"/>
              <a:gd name="connsiteY5" fmla="*/ 42725 h 465697"/>
              <a:gd name="connsiteX6" fmla="*/ 375089 w 521261"/>
              <a:gd name="connsiteY6" fmla="*/ 13769 h 465697"/>
              <a:gd name="connsiteX7" fmla="*/ 508076 w 521261"/>
              <a:gd name="connsiteY7" fmla="*/ 77504 h 465697"/>
              <a:gd name="connsiteX8" fmla="*/ 518422 w 521261"/>
              <a:gd name="connsiteY8" fmla="*/ 129082 h 465697"/>
              <a:gd name="connsiteX9" fmla="*/ 481663 w 521261"/>
              <a:gd name="connsiteY9" fmla="*/ 165249 h 465697"/>
              <a:gd name="connsiteX10" fmla="*/ 334535 w 521261"/>
              <a:gd name="connsiteY10" fmla="*/ 215979 h 465697"/>
              <a:gd name="connsiteX11" fmla="*/ 247904 w 521261"/>
              <a:gd name="connsiteY11" fmla="*/ 331492 h 465697"/>
              <a:gd name="connsiteX12" fmla="*/ 198623 w 521261"/>
              <a:gd name="connsiteY12" fmla="*/ 356132 h 465697"/>
              <a:gd name="connsiteX13" fmla="*/ 138171 w 521261"/>
              <a:gd name="connsiteY13" fmla="*/ 282695 h 465697"/>
              <a:gd name="connsiteX14" fmla="*/ 145055 w 521261"/>
              <a:gd name="connsiteY14" fmla="*/ 247543 h 465697"/>
              <a:gd name="connsiteX15" fmla="*/ 75753 w 521261"/>
              <a:gd name="connsiteY15" fmla="*/ 262505 h 465697"/>
              <a:gd name="connsiteX16" fmla="*/ 0 w 521261"/>
              <a:gd name="connsiteY16" fmla="*/ 201362 h 465697"/>
              <a:gd name="connsiteX17" fmla="*/ 0 w 521261"/>
              <a:gd name="connsiteY17" fmla="*/ 101129 h 465697"/>
              <a:gd name="connsiteX18" fmla="*/ 46330 w 521261"/>
              <a:gd name="connsiteY18" fmla="*/ 54799 h 465697"/>
              <a:gd name="connsiteX19" fmla="*/ 87003 w 521261"/>
              <a:gd name="connsiteY19" fmla="*/ 78944 h 465697"/>
              <a:gd name="connsiteX20" fmla="*/ 113463 w 521261"/>
              <a:gd name="connsiteY20" fmla="*/ 127455 h 465697"/>
              <a:gd name="connsiteX21" fmla="*/ 145613 w 521261"/>
              <a:gd name="connsiteY21" fmla="*/ 120757 h 465697"/>
              <a:gd name="connsiteX22" fmla="*/ 158368 w 521261"/>
              <a:gd name="connsiteY22" fmla="*/ 66667 h 465697"/>
              <a:gd name="connsiteX23" fmla="*/ 189200 w 521261"/>
              <a:gd name="connsiteY23" fmla="*/ 111676 h 465697"/>
              <a:gd name="connsiteX24" fmla="*/ 241212 w 521261"/>
              <a:gd name="connsiteY24" fmla="*/ 100840 h 465697"/>
              <a:gd name="connsiteX25" fmla="*/ 248502 w 521261"/>
              <a:gd name="connsiteY25" fmla="*/ 98458 h 465697"/>
              <a:gd name="connsiteX26" fmla="*/ 182132 w 521261"/>
              <a:gd name="connsiteY26" fmla="*/ 44731 h 465697"/>
              <a:gd name="connsiteX27" fmla="*/ 171850 w 521261"/>
              <a:gd name="connsiteY27" fmla="*/ 41091 h 465697"/>
              <a:gd name="connsiteX28" fmla="*/ 158368 w 521261"/>
              <a:gd name="connsiteY28" fmla="*/ 66667 h 465697"/>
              <a:gd name="connsiteX29" fmla="*/ 378245 w 521261"/>
              <a:gd name="connsiteY29" fmla="*/ 54739 h 465697"/>
              <a:gd name="connsiteX30" fmla="*/ 333639 w 521261"/>
              <a:gd name="connsiteY30" fmla="*/ 75267 h 465697"/>
              <a:gd name="connsiteX31" fmla="*/ 296370 w 521261"/>
              <a:gd name="connsiteY31" fmla="*/ 112008 h 465697"/>
              <a:gd name="connsiteX32" fmla="*/ 249595 w 521261"/>
              <a:gd name="connsiteY32" fmla="*/ 141068 h 465697"/>
              <a:gd name="connsiteX33" fmla="*/ 106918 w 521261"/>
              <a:gd name="connsiteY33" fmla="*/ 170790 h 465697"/>
              <a:gd name="connsiteX34" fmla="*/ 84691 w 521261"/>
              <a:gd name="connsiteY34" fmla="*/ 160516 h 465697"/>
              <a:gd name="connsiteX35" fmla="*/ 50929 w 521261"/>
              <a:gd name="connsiteY35" fmla="*/ 98620 h 465697"/>
              <a:gd name="connsiteX36" fmla="*/ 46330 w 521261"/>
              <a:gd name="connsiteY36" fmla="*/ 95890 h 465697"/>
              <a:gd name="connsiteX37" fmla="*/ 41091 w 521261"/>
              <a:gd name="connsiteY37" fmla="*/ 101129 h 465697"/>
              <a:gd name="connsiteX38" fmla="*/ 41091 w 521261"/>
              <a:gd name="connsiteY38" fmla="*/ 201362 h 465697"/>
              <a:gd name="connsiteX39" fmla="*/ 67080 w 521261"/>
              <a:gd name="connsiteY39" fmla="*/ 222340 h 465697"/>
              <a:gd name="connsiteX40" fmla="*/ 166876 w 521261"/>
              <a:gd name="connsiteY40" fmla="*/ 200792 h 465697"/>
              <a:gd name="connsiteX41" fmla="*/ 185600 w 521261"/>
              <a:gd name="connsiteY41" fmla="*/ 206208 h 465697"/>
              <a:gd name="connsiteX42" fmla="*/ 191375 w 521261"/>
              <a:gd name="connsiteY42" fmla="*/ 224822 h 465697"/>
              <a:gd name="connsiteX43" fmla="*/ 178496 w 521261"/>
              <a:gd name="connsiteY43" fmla="*/ 290590 h 465697"/>
              <a:gd name="connsiteX44" fmla="*/ 198623 w 521261"/>
              <a:gd name="connsiteY44" fmla="*/ 315041 h 465697"/>
              <a:gd name="connsiteX45" fmla="*/ 215032 w 521261"/>
              <a:gd name="connsiteY45" fmla="*/ 306837 h 465697"/>
              <a:gd name="connsiteX46" fmla="*/ 305443 w 521261"/>
              <a:gd name="connsiteY46" fmla="*/ 186284 h 465697"/>
              <a:gd name="connsiteX47" fmla="*/ 315181 w 521261"/>
              <a:gd name="connsiteY47" fmla="*/ 179187 h 465697"/>
              <a:gd name="connsiteX48" fmla="*/ 468267 w 521261"/>
              <a:gd name="connsiteY48" fmla="*/ 126402 h 465697"/>
              <a:gd name="connsiteX49" fmla="*/ 479518 w 521261"/>
              <a:gd name="connsiteY49" fmla="*/ 115859 h 465697"/>
              <a:gd name="connsiteX50" fmla="*/ 477115 w 521261"/>
              <a:gd name="connsiteY50" fmla="*/ 104522 h 465697"/>
              <a:gd name="connsiteX51" fmla="*/ 378245 w 521261"/>
              <a:gd name="connsiteY51" fmla="*/ 54739 h 465697"/>
              <a:gd name="connsiteX52" fmla="*/ 20545 w 521261"/>
              <a:gd name="connsiteY52" fmla="*/ 424606 h 465697"/>
              <a:gd name="connsiteX53" fmla="*/ 0 w 521261"/>
              <a:gd name="connsiteY53" fmla="*/ 445152 h 465697"/>
              <a:gd name="connsiteX54" fmla="*/ 20545 w 521261"/>
              <a:gd name="connsiteY54" fmla="*/ 465697 h 465697"/>
              <a:gd name="connsiteX55" fmla="*/ 472546 w 521261"/>
              <a:gd name="connsiteY55" fmla="*/ 465697 h 465697"/>
              <a:gd name="connsiteX56" fmla="*/ 493091 w 521261"/>
              <a:gd name="connsiteY56" fmla="*/ 445152 h 465697"/>
              <a:gd name="connsiteX57" fmla="*/ 472546 w 521261"/>
              <a:gd name="connsiteY57" fmla="*/ 424606 h 465697"/>
              <a:gd name="connsiteX58" fmla="*/ 20545 w 521261"/>
              <a:gd name="connsiteY58" fmla="*/ 424606 h 465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521261" h="465697">
                <a:moveTo>
                  <a:pt x="145613" y="120757"/>
                </a:moveTo>
                <a:lnTo>
                  <a:pt x="124468" y="89889"/>
                </a:lnTo>
                <a:cubicBezTo>
                  <a:pt x="98360" y="51775"/>
                  <a:pt x="125651" y="0"/>
                  <a:pt x="171850" y="0"/>
                </a:cubicBezTo>
                <a:cubicBezTo>
                  <a:pt x="185005" y="0"/>
                  <a:pt x="197762" y="4516"/>
                  <a:pt x="207986" y="12793"/>
                </a:cubicBezTo>
                <a:lnTo>
                  <a:pt x="278684" y="70024"/>
                </a:lnTo>
                <a:cubicBezTo>
                  <a:pt x="287163" y="61049"/>
                  <a:pt x="297279" y="51416"/>
                  <a:pt x="308549" y="42725"/>
                </a:cubicBezTo>
                <a:cubicBezTo>
                  <a:pt x="326594" y="28813"/>
                  <a:pt x="349635" y="15729"/>
                  <a:pt x="375089" y="13769"/>
                </a:cubicBezTo>
                <a:cubicBezTo>
                  <a:pt x="436391" y="9049"/>
                  <a:pt x="482180" y="47833"/>
                  <a:pt x="508076" y="77504"/>
                </a:cubicBezTo>
                <a:cubicBezTo>
                  <a:pt x="521463" y="92844"/>
                  <a:pt x="524148" y="112239"/>
                  <a:pt x="518422" y="129082"/>
                </a:cubicBezTo>
                <a:cubicBezTo>
                  <a:pt x="512818" y="145570"/>
                  <a:pt x="499425" y="159124"/>
                  <a:pt x="481663" y="165249"/>
                </a:cubicBezTo>
                <a:lnTo>
                  <a:pt x="334535" y="215979"/>
                </a:lnTo>
                <a:lnTo>
                  <a:pt x="247904" y="331492"/>
                </a:lnTo>
                <a:cubicBezTo>
                  <a:pt x="236270" y="347005"/>
                  <a:pt x="218012" y="356132"/>
                  <a:pt x="198623" y="356132"/>
                </a:cubicBezTo>
                <a:cubicBezTo>
                  <a:pt x="159852" y="356132"/>
                  <a:pt x="130720" y="320745"/>
                  <a:pt x="138171" y="282695"/>
                </a:cubicBezTo>
                <a:lnTo>
                  <a:pt x="145055" y="247543"/>
                </a:lnTo>
                <a:lnTo>
                  <a:pt x="75753" y="262505"/>
                </a:lnTo>
                <a:cubicBezTo>
                  <a:pt x="36788" y="270918"/>
                  <a:pt x="0" y="241226"/>
                  <a:pt x="0" y="201362"/>
                </a:cubicBezTo>
                <a:lnTo>
                  <a:pt x="0" y="101129"/>
                </a:lnTo>
                <a:cubicBezTo>
                  <a:pt x="0" y="75542"/>
                  <a:pt x="20743" y="54799"/>
                  <a:pt x="46330" y="54799"/>
                </a:cubicBezTo>
                <a:cubicBezTo>
                  <a:pt x="63284" y="54799"/>
                  <a:pt x="78884" y="64060"/>
                  <a:pt x="87003" y="78944"/>
                </a:cubicBezTo>
                <a:lnTo>
                  <a:pt x="113463" y="127455"/>
                </a:lnTo>
                <a:lnTo>
                  <a:pt x="145613" y="120757"/>
                </a:lnTo>
                <a:close/>
                <a:moveTo>
                  <a:pt x="158368" y="66667"/>
                </a:moveTo>
                <a:lnTo>
                  <a:pt x="189200" y="111676"/>
                </a:lnTo>
                <a:lnTo>
                  <a:pt x="241212" y="100840"/>
                </a:lnTo>
                <a:cubicBezTo>
                  <a:pt x="243677" y="100327"/>
                  <a:pt x="246118" y="99527"/>
                  <a:pt x="248502" y="98458"/>
                </a:cubicBezTo>
                <a:lnTo>
                  <a:pt x="182132" y="44731"/>
                </a:lnTo>
                <a:cubicBezTo>
                  <a:pt x="179223" y="42376"/>
                  <a:pt x="175593" y="41091"/>
                  <a:pt x="171850" y="41091"/>
                </a:cubicBezTo>
                <a:cubicBezTo>
                  <a:pt x="158705" y="41091"/>
                  <a:pt x="150940" y="55823"/>
                  <a:pt x="158368" y="66667"/>
                </a:cubicBezTo>
                <a:close/>
                <a:moveTo>
                  <a:pt x="378245" y="54739"/>
                </a:moveTo>
                <a:cubicBezTo>
                  <a:pt x="364370" y="55807"/>
                  <a:pt x="348996" y="63427"/>
                  <a:pt x="333639" y="75267"/>
                </a:cubicBezTo>
                <a:cubicBezTo>
                  <a:pt x="318592" y="86869"/>
                  <a:pt x="305489" y="101021"/>
                  <a:pt x="296370" y="112008"/>
                </a:cubicBezTo>
                <a:cubicBezTo>
                  <a:pt x="284862" y="125873"/>
                  <a:pt x="268817" y="137063"/>
                  <a:pt x="249595" y="141068"/>
                </a:cubicBezTo>
                <a:lnTo>
                  <a:pt x="106918" y="170790"/>
                </a:lnTo>
                <a:cubicBezTo>
                  <a:pt x="98054" y="172639"/>
                  <a:pt x="89026" y="168465"/>
                  <a:pt x="84691" y="160516"/>
                </a:cubicBezTo>
                <a:lnTo>
                  <a:pt x="50929" y="98620"/>
                </a:lnTo>
                <a:cubicBezTo>
                  <a:pt x="50011" y="96937"/>
                  <a:pt x="48247" y="95890"/>
                  <a:pt x="46330" y="95890"/>
                </a:cubicBezTo>
                <a:cubicBezTo>
                  <a:pt x="43436" y="95890"/>
                  <a:pt x="41091" y="98236"/>
                  <a:pt x="41091" y="101129"/>
                </a:cubicBezTo>
                <a:lnTo>
                  <a:pt x="41091" y="201362"/>
                </a:lnTo>
                <a:cubicBezTo>
                  <a:pt x="41091" y="215037"/>
                  <a:pt x="53712" y="225225"/>
                  <a:pt x="67080" y="222340"/>
                </a:cubicBezTo>
                <a:lnTo>
                  <a:pt x="166876" y="200792"/>
                </a:lnTo>
                <a:cubicBezTo>
                  <a:pt x="173631" y="199335"/>
                  <a:pt x="180666" y="201370"/>
                  <a:pt x="185600" y="206208"/>
                </a:cubicBezTo>
                <a:cubicBezTo>
                  <a:pt x="190533" y="211046"/>
                  <a:pt x="192703" y="218042"/>
                  <a:pt x="191375" y="224822"/>
                </a:cubicBezTo>
                <a:lnTo>
                  <a:pt x="178496" y="290590"/>
                </a:lnTo>
                <a:cubicBezTo>
                  <a:pt x="176015" y="303259"/>
                  <a:pt x="185715" y="315041"/>
                  <a:pt x="198623" y="315041"/>
                </a:cubicBezTo>
                <a:cubicBezTo>
                  <a:pt x="205079" y="315041"/>
                  <a:pt x="211158" y="312003"/>
                  <a:pt x="215032" y="306837"/>
                </a:cubicBezTo>
                <a:lnTo>
                  <a:pt x="305443" y="186284"/>
                </a:lnTo>
                <a:cubicBezTo>
                  <a:pt x="307905" y="182997"/>
                  <a:pt x="311299" y="180526"/>
                  <a:pt x="315181" y="179187"/>
                </a:cubicBezTo>
                <a:lnTo>
                  <a:pt x="468267" y="126402"/>
                </a:lnTo>
                <a:cubicBezTo>
                  <a:pt x="474392" y="124290"/>
                  <a:pt x="478123" y="119957"/>
                  <a:pt x="479518" y="115859"/>
                </a:cubicBezTo>
                <a:cubicBezTo>
                  <a:pt x="480789" y="112114"/>
                  <a:pt x="480345" y="108222"/>
                  <a:pt x="477115" y="104522"/>
                </a:cubicBezTo>
                <a:cubicBezTo>
                  <a:pt x="453759" y="77759"/>
                  <a:pt x="419634" y="51552"/>
                  <a:pt x="378245" y="54739"/>
                </a:cubicBezTo>
                <a:close/>
                <a:moveTo>
                  <a:pt x="20545" y="424606"/>
                </a:moveTo>
                <a:cubicBezTo>
                  <a:pt x="9199" y="424606"/>
                  <a:pt x="0" y="433805"/>
                  <a:pt x="0" y="445152"/>
                </a:cubicBezTo>
                <a:cubicBezTo>
                  <a:pt x="0" y="456498"/>
                  <a:pt x="9199" y="465697"/>
                  <a:pt x="20545" y="465697"/>
                </a:cubicBezTo>
                <a:lnTo>
                  <a:pt x="472546" y="465697"/>
                </a:lnTo>
                <a:cubicBezTo>
                  <a:pt x="483892" y="465697"/>
                  <a:pt x="493091" y="456498"/>
                  <a:pt x="493091" y="445152"/>
                </a:cubicBezTo>
                <a:cubicBezTo>
                  <a:pt x="493091" y="433805"/>
                  <a:pt x="483892" y="424606"/>
                  <a:pt x="472546" y="424606"/>
                </a:cubicBezTo>
                <a:lnTo>
                  <a:pt x="20545" y="424606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0" name="Graphic 60" descr="App Folder&#10;Keyword: fluent-icon;&#10;Metaphor: collection, ui;&#10;&#10;Used for content around app ui.">
            <a:extLst>
              <a:ext uri="{FF2B5EF4-FFF2-40B4-BE49-F238E27FC236}">
                <a16:creationId xmlns:a16="http://schemas.microsoft.com/office/drawing/2014/main" id="{8209C303-4EB5-36A0-E0BC-D8768DF5F03E}"/>
              </a:ext>
            </a:extLst>
          </p:cNvPr>
          <p:cNvSpPr/>
          <p:nvPr/>
        </p:nvSpPr>
        <p:spPr>
          <a:xfrm>
            <a:off x="4444637" y="3198165"/>
            <a:ext cx="493091" cy="493091"/>
          </a:xfrm>
          <a:custGeom>
            <a:avLst/>
            <a:gdLst>
              <a:gd name="connsiteX0" fmla="*/ 417758 w 493091"/>
              <a:gd name="connsiteY0" fmla="*/ 0 h 493091"/>
              <a:gd name="connsiteX1" fmla="*/ 493091 w 493091"/>
              <a:gd name="connsiteY1" fmla="*/ 75333 h 493091"/>
              <a:gd name="connsiteX2" fmla="*/ 493091 w 493091"/>
              <a:gd name="connsiteY2" fmla="*/ 417758 h 493091"/>
              <a:gd name="connsiteX3" fmla="*/ 417758 w 493091"/>
              <a:gd name="connsiteY3" fmla="*/ 493091 h 493091"/>
              <a:gd name="connsiteX4" fmla="*/ 75333 w 493091"/>
              <a:gd name="connsiteY4" fmla="*/ 493091 h 493091"/>
              <a:gd name="connsiteX5" fmla="*/ 0 w 493091"/>
              <a:gd name="connsiteY5" fmla="*/ 417758 h 493091"/>
              <a:gd name="connsiteX6" fmla="*/ 0 w 493091"/>
              <a:gd name="connsiteY6" fmla="*/ 75333 h 493091"/>
              <a:gd name="connsiteX7" fmla="*/ 75333 w 493091"/>
              <a:gd name="connsiteY7" fmla="*/ 0 h 493091"/>
              <a:gd name="connsiteX8" fmla="*/ 417758 w 493091"/>
              <a:gd name="connsiteY8" fmla="*/ 0 h 493091"/>
              <a:gd name="connsiteX9" fmla="*/ 417758 w 493091"/>
              <a:gd name="connsiteY9" fmla="*/ 41091 h 493091"/>
              <a:gd name="connsiteX10" fmla="*/ 75333 w 493091"/>
              <a:gd name="connsiteY10" fmla="*/ 41091 h 493091"/>
              <a:gd name="connsiteX11" fmla="*/ 41091 w 493091"/>
              <a:gd name="connsiteY11" fmla="*/ 75333 h 493091"/>
              <a:gd name="connsiteX12" fmla="*/ 41091 w 493091"/>
              <a:gd name="connsiteY12" fmla="*/ 417758 h 493091"/>
              <a:gd name="connsiteX13" fmla="*/ 75333 w 493091"/>
              <a:gd name="connsiteY13" fmla="*/ 452000 h 493091"/>
              <a:gd name="connsiteX14" fmla="*/ 417758 w 493091"/>
              <a:gd name="connsiteY14" fmla="*/ 452000 h 493091"/>
              <a:gd name="connsiteX15" fmla="*/ 452000 w 493091"/>
              <a:gd name="connsiteY15" fmla="*/ 417758 h 493091"/>
              <a:gd name="connsiteX16" fmla="*/ 452000 w 493091"/>
              <a:gd name="connsiteY16" fmla="*/ 75333 h 493091"/>
              <a:gd name="connsiteX17" fmla="*/ 417758 w 493091"/>
              <a:gd name="connsiteY17" fmla="*/ 41091 h 493091"/>
              <a:gd name="connsiteX18" fmla="*/ 184961 w 493091"/>
              <a:gd name="connsiteY18" fmla="*/ 260243 h 493091"/>
              <a:gd name="connsiteX19" fmla="*/ 232901 w 493091"/>
              <a:gd name="connsiteY19" fmla="*/ 308182 h 493091"/>
              <a:gd name="connsiteX20" fmla="*/ 232901 w 493091"/>
              <a:gd name="connsiteY20" fmla="*/ 362970 h 493091"/>
              <a:gd name="connsiteX21" fmla="*/ 184961 w 493091"/>
              <a:gd name="connsiteY21" fmla="*/ 410909 h 493091"/>
              <a:gd name="connsiteX22" fmla="*/ 130173 w 493091"/>
              <a:gd name="connsiteY22" fmla="*/ 410909 h 493091"/>
              <a:gd name="connsiteX23" fmla="*/ 82234 w 493091"/>
              <a:gd name="connsiteY23" fmla="*/ 362970 h 493091"/>
              <a:gd name="connsiteX24" fmla="*/ 82234 w 493091"/>
              <a:gd name="connsiteY24" fmla="*/ 308182 h 493091"/>
              <a:gd name="connsiteX25" fmla="*/ 130173 w 493091"/>
              <a:gd name="connsiteY25" fmla="*/ 260243 h 493091"/>
              <a:gd name="connsiteX26" fmla="*/ 184961 w 493091"/>
              <a:gd name="connsiteY26" fmla="*/ 260243 h 493091"/>
              <a:gd name="connsiteX27" fmla="*/ 362954 w 493091"/>
              <a:gd name="connsiteY27" fmla="*/ 260243 h 493091"/>
              <a:gd name="connsiteX28" fmla="*/ 410893 w 493091"/>
              <a:gd name="connsiteY28" fmla="*/ 308182 h 493091"/>
              <a:gd name="connsiteX29" fmla="*/ 410893 w 493091"/>
              <a:gd name="connsiteY29" fmla="*/ 362970 h 493091"/>
              <a:gd name="connsiteX30" fmla="*/ 362954 w 493091"/>
              <a:gd name="connsiteY30" fmla="*/ 410909 h 493091"/>
              <a:gd name="connsiteX31" fmla="*/ 308166 w 493091"/>
              <a:gd name="connsiteY31" fmla="*/ 410909 h 493091"/>
              <a:gd name="connsiteX32" fmla="*/ 260226 w 493091"/>
              <a:gd name="connsiteY32" fmla="*/ 362970 h 493091"/>
              <a:gd name="connsiteX33" fmla="*/ 260226 w 493091"/>
              <a:gd name="connsiteY33" fmla="*/ 308182 h 493091"/>
              <a:gd name="connsiteX34" fmla="*/ 308166 w 493091"/>
              <a:gd name="connsiteY34" fmla="*/ 260243 h 493091"/>
              <a:gd name="connsiteX35" fmla="*/ 362954 w 493091"/>
              <a:gd name="connsiteY35" fmla="*/ 260243 h 493091"/>
              <a:gd name="connsiteX36" fmla="*/ 184961 w 493091"/>
              <a:gd name="connsiteY36" fmla="*/ 301334 h 493091"/>
              <a:gd name="connsiteX37" fmla="*/ 130173 w 493091"/>
              <a:gd name="connsiteY37" fmla="*/ 301334 h 493091"/>
              <a:gd name="connsiteX38" fmla="*/ 123325 w 493091"/>
              <a:gd name="connsiteY38" fmla="*/ 308182 h 493091"/>
              <a:gd name="connsiteX39" fmla="*/ 123325 w 493091"/>
              <a:gd name="connsiteY39" fmla="*/ 362970 h 493091"/>
              <a:gd name="connsiteX40" fmla="*/ 130173 w 493091"/>
              <a:gd name="connsiteY40" fmla="*/ 369818 h 493091"/>
              <a:gd name="connsiteX41" fmla="*/ 184961 w 493091"/>
              <a:gd name="connsiteY41" fmla="*/ 369818 h 493091"/>
              <a:gd name="connsiteX42" fmla="*/ 191810 w 493091"/>
              <a:gd name="connsiteY42" fmla="*/ 362970 h 493091"/>
              <a:gd name="connsiteX43" fmla="*/ 191810 w 493091"/>
              <a:gd name="connsiteY43" fmla="*/ 308182 h 493091"/>
              <a:gd name="connsiteX44" fmla="*/ 184961 w 493091"/>
              <a:gd name="connsiteY44" fmla="*/ 301334 h 493091"/>
              <a:gd name="connsiteX45" fmla="*/ 362954 w 493091"/>
              <a:gd name="connsiteY45" fmla="*/ 301334 h 493091"/>
              <a:gd name="connsiteX46" fmla="*/ 308166 w 493091"/>
              <a:gd name="connsiteY46" fmla="*/ 301334 h 493091"/>
              <a:gd name="connsiteX47" fmla="*/ 301317 w 493091"/>
              <a:gd name="connsiteY47" fmla="*/ 308182 h 493091"/>
              <a:gd name="connsiteX48" fmla="*/ 301317 w 493091"/>
              <a:gd name="connsiteY48" fmla="*/ 362970 h 493091"/>
              <a:gd name="connsiteX49" fmla="*/ 308166 w 493091"/>
              <a:gd name="connsiteY49" fmla="*/ 369818 h 493091"/>
              <a:gd name="connsiteX50" fmla="*/ 362954 w 493091"/>
              <a:gd name="connsiteY50" fmla="*/ 369818 h 493091"/>
              <a:gd name="connsiteX51" fmla="*/ 369802 w 493091"/>
              <a:gd name="connsiteY51" fmla="*/ 362970 h 493091"/>
              <a:gd name="connsiteX52" fmla="*/ 369802 w 493091"/>
              <a:gd name="connsiteY52" fmla="*/ 308182 h 493091"/>
              <a:gd name="connsiteX53" fmla="*/ 362954 w 493091"/>
              <a:gd name="connsiteY53" fmla="*/ 301334 h 493091"/>
              <a:gd name="connsiteX54" fmla="*/ 184926 w 493091"/>
              <a:gd name="connsiteY54" fmla="*/ 82182 h 493091"/>
              <a:gd name="connsiteX55" fmla="*/ 232865 w 493091"/>
              <a:gd name="connsiteY55" fmla="*/ 130121 h 493091"/>
              <a:gd name="connsiteX56" fmla="*/ 232865 w 493091"/>
              <a:gd name="connsiteY56" fmla="*/ 184909 h 493091"/>
              <a:gd name="connsiteX57" fmla="*/ 184926 w 493091"/>
              <a:gd name="connsiteY57" fmla="*/ 232849 h 493091"/>
              <a:gd name="connsiteX58" fmla="*/ 130139 w 493091"/>
              <a:gd name="connsiteY58" fmla="*/ 232849 h 493091"/>
              <a:gd name="connsiteX59" fmla="*/ 82199 w 493091"/>
              <a:gd name="connsiteY59" fmla="*/ 184909 h 493091"/>
              <a:gd name="connsiteX60" fmla="*/ 82199 w 493091"/>
              <a:gd name="connsiteY60" fmla="*/ 130121 h 493091"/>
              <a:gd name="connsiteX61" fmla="*/ 130139 w 493091"/>
              <a:gd name="connsiteY61" fmla="*/ 82182 h 493091"/>
              <a:gd name="connsiteX62" fmla="*/ 184926 w 493091"/>
              <a:gd name="connsiteY62" fmla="*/ 82182 h 493091"/>
              <a:gd name="connsiteX63" fmla="*/ 362918 w 493091"/>
              <a:gd name="connsiteY63" fmla="*/ 82182 h 493091"/>
              <a:gd name="connsiteX64" fmla="*/ 410857 w 493091"/>
              <a:gd name="connsiteY64" fmla="*/ 130121 h 493091"/>
              <a:gd name="connsiteX65" fmla="*/ 410857 w 493091"/>
              <a:gd name="connsiteY65" fmla="*/ 184909 h 493091"/>
              <a:gd name="connsiteX66" fmla="*/ 362918 w 493091"/>
              <a:gd name="connsiteY66" fmla="*/ 232849 h 493091"/>
              <a:gd name="connsiteX67" fmla="*/ 308130 w 493091"/>
              <a:gd name="connsiteY67" fmla="*/ 232849 h 493091"/>
              <a:gd name="connsiteX68" fmla="*/ 260191 w 493091"/>
              <a:gd name="connsiteY68" fmla="*/ 184909 h 493091"/>
              <a:gd name="connsiteX69" fmla="*/ 260191 w 493091"/>
              <a:gd name="connsiteY69" fmla="*/ 130121 h 493091"/>
              <a:gd name="connsiteX70" fmla="*/ 308130 w 493091"/>
              <a:gd name="connsiteY70" fmla="*/ 82182 h 493091"/>
              <a:gd name="connsiteX71" fmla="*/ 362918 w 493091"/>
              <a:gd name="connsiteY71" fmla="*/ 82182 h 493091"/>
              <a:gd name="connsiteX72" fmla="*/ 184926 w 493091"/>
              <a:gd name="connsiteY72" fmla="*/ 123273 h 493091"/>
              <a:gd name="connsiteX73" fmla="*/ 130139 w 493091"/>
              <a:gd name="connsiteY73" fmla="*/ 123273 h 493091"/>
              <a:gd name="connsiteX74" fmla="*/ 123290 w 493091"/>
              <a:gd name="connsiteY74" fmla="*/ 130121 h 493091"/>
              <a:gd name="connsiteX75" fmla="*/ 123290 w 493091"/>
              <a:gd name="connsiteY75" fmla="*/ 184909 h 493091"/>
              <a:gd name="connsiteX76" fmla="*/ 130139 w 493091"/>
              <a:gd name="connsiteY76" fmla="*/ 191758 h 493091"/>
              <a:gd name="connsiteX77" fmla="*/ 184926 w 493091"/>
              <a:gd name="connsiteY77" fmla="*/ 191758 h 493091"/>
              <a:gd name="connsiteX78" fmla="*/ 191774 w 493091"/>
              <a:gd name="connsiteY78" fmla="*/ 184909 h 493091"/>
              <a:gd name="connsiteX79" fmla="*/ 191774 w 493091"/>
              <a:gd name="connsiteY79" fmla="*/ 130121 h 493091"/>
              <a:gd name="connsiteX80" fmla="*/ 184926 w 493091"/>
              <a:gd name="connsiteY80" fmla="*/ 123273 h 493091"/>
              <a:gd name="connsiteX81" fmla="*/ 362918 w 493091"/>
              <a:gd name="connsiteY81" fmla="*/ 123273 h 493091"/>
              <a:gd name="connsiteX82" fmla="*/ 308130 w 493091"/>
              <a:gd name="connsiteY82" fmla="*/ 123273 h 493091"/>
              <a:gd name="connsiteX83" fmla="*/ 301282 w 493091"/>
              <a:gd name="connsiteY83" fmla="*/ 130121 h 493091"/>
              <a:gd name="connsiteX84" fmla="*/ 301282 w 493091"/>
              <a:gd name="connsiteY84" fmla="*/ 184909 h 493091"/>
              <a:gd name="connsiteX85" fmla="*/ 308130 w 493091"/>
              <a:gd name="connsiteY85" fmla="*/ 191758 h 493091"/>
              <a:gd name="connsiteX86" fmla="*/ 362918 w 493091"/>
              <a:gd name="connsiteY86" fmla="*/ 191758 h 493091"/>
              <a:gd name="connsiteX87" fmla="*/ 369766 w 493091"/>
              <a:gd name="connsiteY87" fmla="*/ 184909 h 493091"/>
              <a:gd name="connsiteX88" fmla="*/ 369766 w 493091"/>
              <a:gd name="connsiteY88" fmla="*/ 130121 h 493091"/>
              <a:gd name="connsiteX89" fmla="*/ 362918 w 493091"/>
              <a:gd name="connsiteY89" fmla="*/ 123273 h 493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493091" h="493091">
                <a:moveTo>
                  <a:pt x="417758" y="0"/>
                </a:moveTo>
                <a:cubicBezTo>
                  <a:pt x="459364" y="0"/>
                  <a:pt x="493091" y="33728"/>
                  <a:pt x="493091" y="75333"/>
                </a:cubicBezTo>
                <a:lnTo>
                  <a:pt x="493091" y="417758"/>
                </a:lnTo>
                <a:cubicBezTo>
                  <a:pt x="493091" y="459364"/>
                  <a:pt x="459364" y="493091"/>
                  <a:pt x="417758" y="493091"/>
                </a:cubicBezTo>
                <a:lnTo>
                  <a:pt x="75333" y="493091"/>
                </a:lnTo>
                <a:cubicBezTo>
                  <a:pt x="33728" y="493091"/>
                  <a:pt x="0" y="459364"/>
                  <a:pt x="0" y="417758"/>
                </a:cubicBezTo>
                <a:lnTo>
                  <a:pt x="0" y="75333"/>
                </a:lnTo>
                <a:cubicBezTo>
                  <a:pt x="0" y="33728"/>
                  <a:pt x="33728" y="0"/>
                  <a:pt x="75333" y="0"/>
                </a:cubicBezTo>
                <a:lnTo>
                  <a:pt x="417758" y="0"/>
                </a:lnTo>
                <a:close/>
                <a:moveTo>
                  <a:pt x="417758" y="41091"/>
                </a:moveTo>
                <a:lnTo>
                  <a:pt x="75333" y="41091"/>
                </a:lnTo>
                <a:cubicBezTo>
                  <a:pt x="56422" y="41091"/>
                  <a:pt x="41091" y="56422"/>
                  <a:pt x="41091" y="75333"/>
                </a:cubicBezTo>
                <a:lnTo>
                  <a:pt x="41091" y="417758"/>
                </a:lnTo>
                <a:cubicBezTo>
                  <a:pt x="41091" y="436671"/>
                  <a:pt x="56422" y="452000"/>
                  <a:pt x="75333" y="452000"/>
                </a:cubicBezTo>
                <a:lnTo>
                  <a:pt x="417758" y="452000"/>
                </a:lnTo>
                <a:cubicBezTo>
                  <a:pt x="436671" y="452000"/>
                  <a:pt x="452000" y="436671"/>
                  <a:pt x="452000" y="417758"/>
                </a:cubicBezTo>
                <a:lnTo>
                  <a:pt x="452000" y="75333"/>
                </a:lnTo>
                <a:cubicBezTo>
                  <a:pt x="452000" y="56422"/>
                  <a:pt x="436671" y="41091"/>
                  <a:pt x="417758" y="41091"/>
                </a:cubicBezTo>
                <a:close/>
                <a:moveTo>
                  <a:pt x="184961" y="260243"/>
                </a:moveTo>
                <a:cubicBezTo>
                  <a:pt x="211438" y="260243"/>
                  <a:pt x="232901" y="281706"/>
                  <a:pt x="232901" y="308182"/>
                </a:cubicBezTo>
                <a:lnTo>
                  <a:pt x="232901" y="362970"/>
                </a:lnTo>
                <a:cubicBezTo>
                  <a:pt x="232901" y="389446"/>
                  <a:pt x="211438" y="410909"/>
                  <a:pt x="184961" y="410909"/>
                </a:cubicBezTo>
                <a:lnTo>
                  <a:pt x="130173" y="410909"/>
                </a:lnTo>
                <a:cubicBezTo>
                  <a:pt x="103697" y="410909"/>
                  <a:pt x="82234" y="389446"/>
                  <a:pt x="82234" y="362970"/>
                </a:cubicBezTo>
                <a:lnTo>
                  <a:pt x="82234" y="308182"/>
                </a:lnTo>
                <a:cubicBezTo>
                  <a:pt x="82234" y="281706"/>
                  <a:pt x="103697" y="260243"/>
                  <a:pt x="130173" y="260243"/>
                </a:cubicBezTo>
                <a:lnTo>
                  <a:pt x="184961" y="260243"/>
                </a:lnTo>
                <a:close/>
                <a:moveTo>
                  <a:pt x="362954" y="260243"/>
                </a:moveTo>
                <a:cubicBezTo>
                  <a:pt x="389430" y="260243"/>
                  <a:pt x="410893" y="281706"/>
                  <a:pt x="410893" y="308182"/>
                </a:cubicBezTo>
                <a:lnTo>
                  <a:pt x="410893" y="362970"/>
                </a:lnTo>
                <a:cubicBezTo>
                  <a:pt x="410893" y="389446"/>
                  <a:pt x="389430" y="410909"/>
                  <a:pt x="362954" y="410909"/>
                </a:cubicBezTo>
                <a:lnTo>
                  <a:pt x="308166" y="410909"/>
                </a:lnTo>
                <a:cubicBezTo>
                  <a:pt x="281689" y="410909"/>
                  <a:pt x="260226" y="389446"/>
                  <a:pt x="260226" y="362970"/>
                </a:cubicBezTo>
                <a:lnTo>
                  <a:pt x="260226" y="308182"/>
                </a:lnTo>
                <a:cubicBezTo>
                  <a:pt x="260226" y="281706"/>
                  <a:pt x="281689" y="260243"/>
                  <a:pt x="308166" y="260243"/>
                </a:cubicBezTo>
                <a:lnTo>
                  <a:pt x="362954" y="260243"/>
                </a:lnTo>
                <a:close/>
                <a:moveTo>
                  <a:pt x="184961" y="301334"/>
                </a:moveTo>
                <a:lnTo>
                  <a:pt x="130173" y="301334"/>
                </a:lnTo>
                <a:cubicBezTo>
                  <a:pt x="126391" y="301334"/>
                  <a:pt x="123325" y="304399"/>
                  <a:pt x="123325" y="308182"/>
                </a:cubicBezTo>
                <a:lnTo>
                  <a:pt x="123325" y="362970"/>
                </a:lnTo>
                <a:cubicBezTo>
                  <a:pt x="123325" y="366753"/>
                  <a:pt x="126391" y="369818"/>
                  <a:pt x="130173" y="369818"/>
                </a:cubicBezTo>
                <a:lnTo>
                  <a:pt x="184961" y="369818"/>
                </a:lnTo>
                <a:cubicBezTo>
                  <a:pt x="188744" y="369818"/>
                  <a:pt x="191810" y="366753"/>
                  <a:pt x="191810" y="362970"/>
                </a:cubicBezTo>
                <a:lnTo>
                  <a:pt x="191810" y="308182"/>
                </a:lnTo>
                <a:cubicBezTo>
                  <a:pt x="191810" y="304399"/>
                  <a:pt x="188744" y="301334"/>
                  <a:pt x="184961" y="301334"/>
                </a:cubicBezTo>
                <a:close/>
                <a:moveTo>
                  <a:pt x="362954" y="301334"/>
                </a:moveTo>
                <a:lnTo>
                  <a:pt x="308166" y="301334"/>
                </a:lnTo>
                <a:cubicBezTo>
                  <a:pt x="304383" y="301334"/>
                  <a:pt x="301317" y="304399"/>
                  <a:pt x="301317" y="308182"/>
                </a:cubicBezTo>
                <a:lnTo>
                  <a:pt x="301317" y="362970"/>
                </a:lnTo>
                <a:cubicBezTo>
                  <a:pt x="301317" y="366753"/>
                  <a:pt x="304383" y="369818"/>
                  <a:pt x="308166" y="369818"/>
                </a:cubicBezTo>
                <a:lnTo>
                  <a:pt x="362954" y="369818"/>
                </a:lnTo>
                <a:cubicBezTo>
                  <a:pt x="366734" y="369818"/>
                  <a:pt x="369802" y="366753"/>
                  <a:pt x="369802" y="362970"/>
                </a:cubicBezTo>
                <a:lnTo>
                  <a:pt x="369802" y="308182"/>
                </a:lnTo>
                <a:cubicBezTo>
                  <a:pt x="369802" y="304399"/>
                  <a:pt x="366734" y="301334"/>
                  <a:pt x="362954" y="301334"/>
                </a:cubicBezTo>
                <a:close/>
                <a:moveTo>
                  <a:pt x="184926" y="82182"/>
                </a:moveTo>
                <a:cubicBezTo>
                  <a:pt x="211402" y="82182"/>
                  <a:pt x="232865" y="103645"/>
                  <a:pt x="232865" y="130121"/>
                </a:cubicBezTo>
                <a:lnTo>
                  <a:pt x="232865" y="184909"/>
                </a:lnTo>
                <a:cubicBezTo>
                  <a:pt x="232865" y="211385"/>
                  <a:pt x="211402" y="232849"/>
                  <a:pt x="184926" y="232849"/>
                </a:cubicBezTo>
                <a:lnTo>
                  <a:pt x="130139" y="232849"/>
                </a:lnTo>
                <a:cubicBezTo>
                  <a:pt x="103662" y="232849"/>
                  <a:pt x="82199" y="211385"/>
                  <a:pt x="82199" y="184909"/>
                </a:cubicBezTo>
                <a:lnTo>
                  <a:pt x="82199" y="130121"/>
                </a:lnTo>
                <a:cubicBezTo>
                  <a:pt x="82199" y="103645"/>
                  <a:pt x="103662" y="82182"/>
                  <a:pt x="130139" y="82182"/>
                </a:cubicBezTo>
                <a:lnTo>
                  <a:pt x="184926" y="82182"/>
                </a:lnTo>
                <a:close/>
                <a:moveTo>
                  <a:pt x="362918" y="82182"/>
                </a:moveTo>
                <a:cubicBezTo>
                  <a:pt x="389394" y="82182"/>
                  <a:pt x="410857" y="103645"/>
                  <a:pt x="410857" y="130121"/>
                </a:cubicBezTo>
                <a:lnTo>
                  <a:pt x="410857" y="184909"/>
                </a:lnTo>
                <a:cubicBezTo>
                  <a:pt x="410857" y="211385"/>
                  <a:pt x="389394" y="232849"/>
                  <a:pt x="362918" y="232849"/>
                </a:cubicBezTo>
                <a:lnTo>
                  <a:pt x="308130" y="232849"/>
                </a:lnTo>
                <a:cubicBezTo>
                  <a:pt x="281654" y="232849"/>
                  <a:pt x="260191" y="211385"/>
                  <a:pt x="260191" y="184909"/>
                </a:cubicBezTo>
                <a:lnTo>
                  <a:pt x="260191" y="130121"/>
                </a:lnTo>
                <a:cubicBezTo>
                  <a:pt x="260191" y="103645"/>
                  <a:pt x="281654" y="82182"/>
                  <a:pt x="308130" y="82182"/>
                </a:cubicBezTo>
                <a:lnTo>
                  <a:pt x="362918" y="82182"/>
                </a:lnTo>
                <a:close/>
                <a:moveTo>
                  <a:pt x="184926" y="123273"/>
                </a:moveTo>
                <a:lnTo>
                  <a:pt x="130139" y="123273"/>
                </a:lnTo>
                <a:cubicBezTo>
                  <a:pt x="126356" y="123273"/>
                  <a:pt x="123290" y="126339"/>
                  <a:pt x="123290" y="130121"/>
                </a:cubicBezTo>
                <a:lnTo>
                  <a:pt x="123290" y="184909"/>
                </a:lnTo>
                <a:cubicBezTo>
                  <a:pt x="123290" y="188692"/>
                  <a:pt x="126356" y="191758"/>
                  <a:pt x="130139" y="191758"/>
                </a:cubicBezTo>
                <a:lnTo>
                  <a:pt x="184926" y="191758"/>
                </a:lnTo>
                <a:cubicBezTo>
                  <a:pt x="188709" y="191758"/>
                  <a:pt x="191774" y="188692"/>
                  <a:pt x="191774" y="184909"/>
                </a:cubicBezTo>
                <a:lnTo>
                  <a:pt x="191774" y="130121"/>
                </a:lnTo>
                <a:cubicBezTo>
                  <a:pt x="191774" y="126339"/>
                  <a:pt x="188709" y="123273"/>
                  <a:pt x="184926" y="123273"/>
                </a:cubicBezTo>
                <a:close/>
                <a:moveTo>
                  <a:pt x="362918" y="123273"/>
                </a:moveTo>
                <a:lnTo>
                  <a:pt x="308130" y="123273"/>
                </a:lnTo>
                <a:cubicBezTo>
                  <a:pt x="304347" y="123273"/>
                  <a:pt x="301282" y="126339"/>
                  <a:pt x="301282" y="130121"/>
                </a:cubicBezTo>
                <a:lnTo>
                  <a:pt x="301282" y="184909"/>
                </a:lnTo>
                <a:cubicBezTo>
                  <a:pt x="301282" y="188692"/>
                  <a:pt x="304347" y="191758"/>
                  <a:pt x="308130" y="191758"/>
                </a:cubicBezTo>
                <a:lnTo>
                  <a:pt x="362918" y="191758"/>
                </a:lnTo>
                <a:cubicBezTo>
                  <a:pt x="366701" y="191758"/>
                  <a:pt x="369766" y="188692"/>
                  <a:pt x="369766" y="184909"/>
                </a:cubicBezTo>
                <a:lnTo>
                  <a:pt x="369766" y="130121"/>
                </a:lnTo>
                <a:cubicBezTo>
                  <a:pt x="369766" y="126339"/>
                  <a:pt x="366701" y="123273"/>
                  <a:pt x="362918" y="123273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1" name="Graphic 62" descr="Box&#10;Keyword: fluent-icon;&#10;Metaphor: package, shipping, cargo, production;&#10;&#10;Used for shipping, production scenarios.">
            <a:extLst>
              <a:ext uri="{FF2B5EF4-FFF2-40B4-BE49-F238E27FC236}">
                <a16:creationId xmlns:a16="http://schemas.microsoft.com/office/drawing/2014/main" id="{3B604EDC-5BBC-35EC-7092-92506814CC04}"/>
              </a:ext>
            </a:extLst>
          </p:cNvPr>
          <p:cNvSpPr/>
          <p:nvPr/>
        </p:nvSpPr>
        <p:spPr>
          <a:xfrm>
            <a:off x="5348408" y="3177272"/>
            <a:ext cx="547879" cy="534886"/>
          </a:xfrm>
          <a:custGeom>
            <a:avLst/>
            <a:gdLst>
              <a:gd name="connsiteX0" fmla="*/ 235344 w 547879"/>
              <a:gd name="connsiteY0" fmla="*/ 7526 h 534886"/>
              <a:gd name="connsiteX1" fmla="*/ 312535 w 547879"/>
              <a:gd name="connsiteY1" fmla="*/ 7526 h 534886"/>
              <a:gd name="connsiteX2" fmla="*/ 517951 w 547879"/>
              <a:gd name="connsiteY2" fmla="*/ 90803 h 534886"/>
              <a:gd name="connsiteX3" fmla="*/ 547879 w 547879"/>
              <a:gd name="connsiteY3" fmla="*/ 135230 h 534886"/>
              <a:gd name="connsiteX4" fmla="*/ 547879 w 547879"/>
              <a:gd name="connsiteY4" fmla="*/ 399656 h 534886"/>
              <a:gd name="connsiteX5" fmla="*/ 517951 w 547879"/>
              <a:gd name="connsiteY5" fmla="*/ 444083 h 534886"/>
              <a:gd name="connsiteX6" fmla="*/ 312535 w 547879"/>
              <a:gd name="connsiteY6" fmla="*/ 527361 h 534886"/>
              <a:gd name="connsiteX7" fmla="*/ 235344 w 547879"/>
              <a:gd name="connsiteY7" fmla="*/ 527361 h 534886"/>
              <a:gd name="connsiteX8" fmla="*/ 29928 w 547879"/>
              <a:gd name="connsiteY8" fmla="*/ 444083 h 534886"/>
              <a:gd name="connsiteX9" fmla="*/ 0 w 547879"/>
              <a:gd name="connsiteY9" fmla="*/ 399656 h 534886"/>
              <a:gd name="connsiteX10" fmla="*/ 0 w 547879"/>
              <a:gd name="connsiteY10" fmla="*/ 135230 h 534886"/>
              <a:gd name="connsiteX11" fmla="*/ 29928 w 547879"/>
              <a:gd name="connsiteY11" fmla="*/ 90803 h 534886"/>
              <a:gd name="connsiteX12" fmla="*/ 235344 w 547879"/>
              <a:gd name="connsiteY12" fmla="*/ 7526 h 534886"/>
              <a:gd name="connsiteX13" fmla="*/ 297096 w 547879"/>
              <a:gd name="connsiteY13" fmla="*/ 45606 h 534886"/>
              <a:gd name="connsiteX14" fmla="*/ 250783 w 547879"/>
              <a:gd name="connsiteY14" fmla="*/ 45606 h 534886"/>
              <a:gd name="connsiteX15" fmla="*/ 198359 w 547879"/>
              <a:gd name="connsiteY15" fmla="*/ 66859 h 534886"/>
              <a:gd name="connsiteX16" fmla="*/ 404548 w 547879"/>
              <a:gd name="connsiteY16" fmla="*/ 147044 h 534886"/>
              <a:gd name="connsiteX17" fmla="*/ 477668 w 547879"/>
              <a:gd name="connsiteY17" fmla="*/ 118811 h 534886"/>
              <a:gd name="connsiteX18" fmla="*/ 297096 w 547879"/>
              <a:gd name="connsiteY18" fmla="*/ 45606 h 534886"/>
              <a:gd name="connsiteX19" fmla="*/ 347659 w 547879"/>
              <a:gd name="connsiteY19" fmla="*/ 169009 h 534886"/>
              <a:gd name="connsiteX20" fmla="*/ 142852 w 547879"/>
              <a:gd name="connsiteY20" fmla="*/ 89362 h 534886"/>
              <a:gd name="connsiteX21" fmla="*/ 70958 w 547879"/>
              <a:gd name="connsiteY21" fmla="*/ 118508 h 534886"/>
              <a:gd name="connsiteX22" fmla="*/ 273975 w 547879"/>
              <a:gd name="connsiteY22" fmla="*/ 197460 h 534886"/>
              <a:gd name="connsiteX23" fmla="*/ 347659 w 547879"/>
              <a:gd name="connsiteY23" fmla="*/ 169009 h 534886"/>
              <a:gd name="connsiteX24" fmla="*/ 41091 w 547879"/>
              <a:gd name="connsiteY24" fmla="*/ 399656 h 534886"/>
              <a:gd name="connsiteX25" fmla="*/ 45366 w 547879"/>
              <a:gd name="connsiteY25" fmla="*/ 406003 h 534886"/>
              <a:gd name="connsiteX26" fmla="*/ 250783 w 547879"/>
              <a:gd name="connsiteY26" fmla="*/ 489281 h 534886"/>
              <a:gd name="connsiteX27" fmla="*/ 253402 w 547879"/>
              <a:gd name="connsiteY27" fmla="*/ 490272 h 534886"/>
              <a:gd name="connsiteX28" fmla="*/ 253402 w 547879"/>
              <a:gd name="connsiteY28" fmla="*/ 233547 h 534886"/>
              <a:gd name="connsiteX29" fmla="*/ 41091 w 547879"/>
              <a:gd name="connsiteY29" fmla="*/ 150982 h 534886"/>
              <a:gd name="connsiteX30" fmla="*/ 41091 w 547879"/>
              <a:gd name="connsiteY30" fmla="*/ 399656 h 534886"/>
              <a:gd name="connsiteX31" fmla="*/ 297096 w 547879"/>
              <a:gd name="connsiteY31" fmla="*/ 489281 h 534886"/>
              <a:gd name="connsiteX32" fmla="*/ 502512 w 547879"/>
              <a:gd name="connsiteY32" fmla="*/ 406003 h 534886"/>
              <a:gd name="connsiteX33" fmla="*/ 506788 w 547879"/>
              <a:gd name="connsiteY33" fmla="*/ 399656 h 534886"/>
              <a:gd name="connsiteX34" fmla="*/ 506788 w 547879"/>
              <a:gd name="connsiteY34" fmla="*/ 151616 h 534886"/>
              <a:gd name="connsiteX35" fmla="*/ 294493 w 547879"/>
              <a:gd name="connsiteY35" fmla="*/ 233585 h 534886"/>
              <a:gd name="connsiteX36" fmla="*/ 294493 w 547879"/>
              <a:gd name="connsiteY36" fmla="*/ 490267 h 534886"/>
              <a:gd name="connsiteX37" fmla="*/ 297096 w 547879"/>
              <a:gd name="connsiteY37" fmla="*/ 489281 h 534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547879" h="534886">
                <a:moveTo>
                  <a:pt x="235344" y="7526"/>
                </a:moveTo>
                <a:cubicBezTo>
                  <a:pt x="260097" y="-2509"/>
                  <a:pt x="287782" y="-2509"/>
                  <a:pt x="312535" y="7526"/>
                </a:cubicBezTo>
                <a:lnTo>
                  <a:pt x="517951" y="90803"/>
                </a:lnTo>
                <a:cubicBezTo>
                  <a:pt x="536042" y="98137"/>
                  <a:pt x="547879" y="115709"/>
                  <a:pt x="547879" y="135230"/>
                </a:cubicBezTo>
                <a:lnTo>
                  <a:pt x="547879" y="399656"/>
                </a:lnTo>
                <a:cubicBezTo>
                  <a:pt x="547879" y="419177"/>
                  <a:pt x="536042" y="436750"/>
                  <a:pt x="517951" y="444083"/>
                </a:cubicBezTo>
                <a:lnTo>
                  <a:pt x="312535" y="527361"/>
                </a:lnTo>
                <a:cubicBezTo>
                  <a:pt x="287782" y="537395"/>
                  <a:pt x="260097" y="537395"/>
                  <a:pt x="235344" y="527361"/>
                </a:cubicBezTo>
                <a:lnTo>
                  <a:pt x="29928" y="444083"/>
                </a:lnTo>
                <a:cubicBezTo>
                  <a:pt x="11837" y="436750"/>
                  <a:pt x="0" y="419177"/>
                  <a:pt x="0" y="399656"/>
                </a:cubicBezTo>
                <a:lnTo>
                  <a:pt x="0" y="135230"/>
                </a:lnTo>
                <a:cubicBezTo>
                  <a:pt x="0" y="115709"/>
                  <a:pt x="11837" y="98137"/>
                  <a:pt x="29928" y="90803"/>
                </a:cubicBezTo>
                <a:lnTo>
                  <a:pt x="235344" y="7526"/>
                </a:lnTo>
                <a:close/>
                <a:moveTo>
                  <a:pt x="297096" y="45606"/>
                </a:moveTo>
                <a:cubicBezTo>
                  <a:pt x="282245" y="39586"/>
                  <a:pt x="265634" y="39586"/>
                  <a:pt x="250783" y="45606"/>
                </a:cubicBezTo>
                <a:lnTo>
                  <a:pt x="198359" y="66859"/>
                </a:lnTo>
                <a:lnTo>
                  <a:pt x="404548" y="147044"/>
                </a:lnTo>
                <a:lnTo>
                  <a:pt x="477668" y="118811"/>
                </a:lnTo>
                <a:lnTo>
                  <a:pt x="297096" y="45606"/>
                </a:lnTo>
                <a:close/>
                <a:moveTo>
                  <a:pt x="347659" y="169009"/>
                </a:moveTo>
                <a:lnTo>
                  <a:pt x="142852" y="89362"/>
                </a:lnTo>
                <a:lnTo>
                  <a:pt x="70958" y="118508"/>
                </a:lnTo>
                <a:lnTo>
                  <a:pt x="273975" y="197460"/>
                </a:lnTo>
                <a:lnTo>
                  <a:pt x="347659" y="169009"/>
                </a:lnTo>
                <a:close/>
                <a:moveTo>
                  <a:pt x="41091" y="399656"/>
                </a:moveTo>
                <a:cubicBezTo>
                  <a:pt x="41091" y="402445"/>
                  <a:pt x="42782" y="404954"/>
                  <a:pt x="45366" y="406003"/>
                </a:cubicBezTo>
                <a:lnTo>
                  <a:pt x="250783" y="489281"/>
                </a:lnTo>
                <a:cubicBezTo>
                  <a:pt x="251649" y="489631"/>
                  <a:pt x="252526" y="489963"/>
                  <a:pt x="253402" y="490272"/>
                </a:cubicBezTo>
                <a:lnTo>
                  <a:pt x="253402" y="233547"/>
                </a:lnTo>
                <a:lnTo>
                  <a:pt x="41091" y="150982"/>
                </a:lnTo>
                <a:lnTo>
                  <a:pt x="41091" y="399656"/>
                </a:lnTo>
                <a:close/>
                <a:moveTo>
                  <a:pt x="297096" y="489281"/>
                </a:moveTo>
                <a:lnTo>
                  <a:pt x="502512" y="406003"/>
                </a:lnTo>
                <a:cubicBezTo>
                  <a:pt x="505098" y="404954"/>
                  <a:pt x="506788" y="402445"/>
                  <a:pt x="506788" y="399656"/>
                </a:cubicBezTo>
                <a:lnTo>
                  <a:pt x="506788" y="151616"/>
                </a:lnTo>
                <a:lnTo>
                  <a:pt x="294493" y="233585"/>
                </a:lnTo>
                <a:lnTo>
                  <a:pt x="294493" y="490267"/>
                </a:lnTo>
                <a:cubicBezTo>
                  <a:pt x="295367" y="489957"/>
                  <a:pt x="296236" y="489629"/>
                  <a:pt x="297096" y="489281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2" name="Graphic 64" descr="Box Multiple&#10;Keyword: fluent-icon;&#10;Metaphor: package, shipping, cargo, production;&#10;&#10;Used for shipping, production scenarios.">
            <a:extLst>
              <a:ext uri="{FF2B5EF4-FFF2-40B4-BE49-F238E27FC236}">
                <a16:creationId xmlns:a16="http://schemas.microsoft.com/office/drawing/2014/main" id="{9744AEE0-9F36-BA3E-D34E-E563652FF96B}"/>
              </a:ext>
            </a:extLst>
          </p:cNvPr>
          <p:cNvSpPr/>
          <p:nvPr/>
        </p:nvSpPr>
        <p:spPr>
          <a:xfrm>
            <a:off x="6289501" y="3173473"/>
            <a:ext cx="534182" cy="542412"/>
          </a:xfrm>
          <a:custGeom>
            <a:avLst/>
            <a:gdLst>
              <a:gd name="connsiteX0" fmla="*/ 370640 w 534182"/>
              <a:gd name="connsiteY0" fmla="*/ 44913 h 542412"/>
              <a:gd name="connsiteX1" fmla="*/ 327906 w 534182"/>
              <a:gd name="connsiteY1" fmla="*/ 44913 h 542412"/>
              <a:gd name="connsiteX2" fmla="*/ 209929 w 534182"/>
              <a:gd name="connsiteY2" fmla="*/ 88512 h 542412"/>
              <a:gd name="connsiteX3" fmla="*/ 205455 w 534182"/>
              <a:gd name="connsiteY3" fmla="*/ 94936 h 542412"/>
              <a:gd name="connsiteX4" fmla="*/ 205455 w 534182"/>
              <a:gd name="connsiteY4" fmla="*/ 171453 h 542412"/>
              <a:gd name="connsiteX5" fmla="*/ 164364 w 534182"/>
              <a:gd name="connsiteY5" fmla="*/ 171453 h 542412"/>
              <a:gd name="connsiteX6" fmla="*/ 164364 w 534182"/>
              <a:gd name="connsiteY6" fmla="*/ 94936 h 542412"/>
              <a:gd name="connsiteX7" fmla="*/ 195685 w 534182"/>
              <a:gd name="connsiteY7" fmla="*/ 49969 h 542412"/>
              <a:gd name="connsiteX8" fmla="*/ 313664 w 534182"/>
              <a:gd name="connsiteY8" fmla="*/ 6370 h 542412"/>
              <a:gd name="connsiteX9" fmla="*/ 384882 w 534182"/>
              <a:gd name="connsiteY9" fmla="*/ 6370 h 542412"/>
              <a:gd name="connsiteX10" fmla="*/ 502860 w 534182"/>
              <a:gd name="connsiteY10" fmla="*/ 49969 h 542412"/>
              <a:gd name="connsiteX11" fmla="*/ 534182 w 534182"/>
              <a:gd name="connsiteY11" fmla="*/ 94936 h 542412"/>
              <a:gd name="connsiteX12" fmla="*/ 534182 w 534182"/>
              <a:gd name="connsiteY12" fmla="*/ 387232 h 542412"/>
              <a:gd name="connsiteX13" fmla="*/ 502860 w 534182"/>
              <a:gd name="connsiteY13" fmla="*/ 432196 h 542412"/>
              <a:gd name="connsiteX14" fmla="*/ 392807 w 534182"/>
              <a:gd name="connsiteY14" fmla="*/ 472868 h 542412"/>
              <a:gd name="connsiteX15" fmla="*/ 397212 w 534182"/>
              <a:gd name="connsiteY15" fmla="*/ 447477 h 542412"/>
              <a:gd name="connsiteX16" fmla="*/ 397212 w 534182"/>
              <a:gd name="connsiteY16" fmla="*/ 427432 h 542412"/>
              <a:gd name="connsiteX17" fmla="*/ 488618 w 534182"/>
              <a:gd name="connsiteY17" fmla="*/ 393656 h 542412"/>
              <a:gd name="connsiteX18" fmla="*/ 493091 w 534182"/>
              <a:gd name="connsiteY18" fmla="*/ 387232 h 542412"/>
              <a:gd name="connsiteX19" fmla="*/ 493091 w 534182"/>
              <a:gd name="connsiteY19" fmla="*/ 94936 h 542412"/>
              <a:gd name="connsiteX20" fmla="*/ 488618 w 534182"/>
              <a:gd name="connsiteY20" fmla="*/ 88512 h 542412"/>
              <a:gd name="connsiteX21" fmla="*/ 370640 w 534182"/>
              <a:gd name="connsiteY21" fmla="*/ 44913 h 542412"/>
              <a:gd name="connsiteX22" fmla="*/ 260769 w 534182"/>
              <a:gd name="connsiteY22" fmla="*/ 152568 h 542412"/>
              <a:gd name="connsiteX23" fmla="*/ 248063 w 534182"/>
              <a:gd name="connsiteY23" fmla="*/ 126438 h 542412"/>
              <a:gd name="connsiteX24" fmla="*/ 274194 w 534182"/>
              <a:gd name="connsiteY24" fmla="*/ 113732 h 542412"/>
              <a:gd name="connsiteX25" fmla="*/ 347021 w 534182"/>
              <a:gd name="connsiteY25" fmla="*/ 138906 h 542412"/>
              <a:gd name="connsiteX26" fmla="*/ 351500 w 534182"/>
              <a:gd name="connsiteY26" fmla="*/ 138904 h 542412"/>
              <a:gd name="connsiteX27" fmla="*/ 424108 w 534182"/>
              <a:gd name="connsiteY27" fmla="*/ 113745 h 542412"/>
              <a:gd name="connsiteX28" fmla="*/ 450247 w 534182"/>
              <a:gd name="connsiteY28" fmla="*/ 126431 h 542412"/>
              <a:gd name="connsiteX29" fmla="*/ 437561 w 534182"/>
              <a:gd name="connsiteY29" fmla="*/ 152571 h 542412"/>
              <a:gd name="connsiteX30" fmla="*/ 364956 w 534182"/>
              <a:gd name="connsiteY30" fmla="*/ 177730 h 542412"/>
              <a:gd name="connsiteX31" fmla="*/ 333598 w 534182"/>
              <a:gd name="connsiteY31" fmla="*/ 177742 h 542412"/>
              <a:gd name="connsiteX32" fmla="*/ 260769 w 534182"/>
              <a:gd name="connsiteY32" fmla="*/ 152568 h 542412"/>
              <a:gd name="connsiteX33" fmla="*/ 96405 w 534182"/>
              <a:gd name="connsiteY33" fmla="*/ 344325 h 542412"/>
              <a:gd name="connsiteX34" fmla="*/ 83699 w 534182"/>
              <a:gd name="connsiteY34" fmla="*/ 318196 h 542412"/>
              <a:gd name="connsiteX35" fmla="*/ 109829 w 534182"/>
              <a:gd name="connsiteY35" fmla="*/ 305488 h 542412"/>
              <a:gd name="connsiteX36" fmla="*/ 184898 w 534182"/>
              <a:gd name="connsiteY36" fmla="*/ 331439 h 542412"/>
              <a:gd name="connsiteX37" fmla="*/ 259744 w 534182"/>
              <a:gd name="connsiteY37" fmla="*/ 305502 h 542412"/>
              <a:gd name="connsiteX38" fmla="*/ 285883 w 534182"/>
              <a:gd name="connsiteY38" fmla="*/ 318188 h 542412"/>
              <a:gd name="connsiteX39" fmla="*/ 273197 w 534182"/>
              <a:gd name="connsiteY39" fmla="*/ 344330 h 542412"/>
              <a:gd name="connsiteX40" fmla="*/ 205452 w 534182"/>
              <a:gd name="connsiteY40" fmla="*/ 367804 h 542412"/>
              <a:gd name="connsiteX41" fmla="*/ 205452 w 534182"/>
              <a:gd name="connsiteY41" fmla="*/ 441746 h 542412"/>
              <a:gd name="connsiteX42" fmla="*/ 184906 w 534182"/>
              <a:gd name="connsiteY42" fmla="*/ 462291 h 542412"/>
              <a:gd name="connsiteX43" fmla="*/ 164361 w 534182"/>
              <a:gd name="connsiteY43" fmla="*/ 441746 h 542412"/>
              <a:gd name="connsiteX44" fmla="*/ 164361 w 534182"/>
              <a:gd name="connsiteY44" fmla="*/ 367815 h 542412"/>
              <a:gd name="connsiteX45" fmla="*/ 96405 w 534182"/>
              <a:gd name="connsiteY45" fmla="*/ 344325 h 542412"/>
              <a:gd name="connsiteX46" fmla="*/ 220519 w 534182"/>
              <a:gd name="connsiteY46" fmla="*/ 203585 h 542412"/>
              <a:gd name="connsiteX47" fmla="*/ 149299 w 534182"/>
              <a:gd name="connsiteY47" fmla="*/ 203585 h 542412"/>
              <a:gd name="connsiteX48" fmla="*/ 31321 w 534182"/>
              <a:gd name="connsiteY48" fmla="*/ 247186 h 542412"/>
              <a:gd name="connsiteX49" fmla="*/ 0 w 534182"/>
              <a:gd name="connsiteY49" fmla="*/ 292150 h 542412"/>
              <a:gd name="connsiteX50" fmla="*/ 0 w 534182"/>
              <a:gd name="connsiteY50" fmla="*/ 447477 h 542412"/>
              <a:gd name="connsiteX51" fmla="*/ 31321 w 534182"/>
              <a:gd name="connsiteY51" fmla="*/ 492444 h 542412"/>
              <a:gd name="connsiteX52" fmla="*/ 149299 w 534182"/>
              <a:gd name="connsiteY52" fmla="*/ 536041 h 542412"/>
              <a:gd name="connsiteX53" fmla="*/ 220519 w 534182"/>
              <a:gd name="connsiteY53" fmla="*/ 536041 h 542412"/>
              <a:gd name="connsiteX54" fmla="*/ 338496 w 534182"/>
              <a:gd name="connsiteY54" fmla="*/ 492444 h 542412"/>
              <a:gd name="connsiteX55" fmla="*/ 369818 w 534182"/>
              <a:gd name="connsiteY55" fmla="*/ 447477 h 542412"/>
              <a:gd name="connsiteX56" fmla="*/ 369818 w 534182"/>
              <a:gd name="connsiteY56" fmla="*/ 292150 h 542412"/>
              <a:gd name="connsiteX57" fmla="*/ 338496 w 534182"/>
              <a:gd name="connsiteY57" fmla="*/ 247186 h 542412"/>
              <a:gd name="connsiteX58" fmla="*/ 220519 w 534182"/>
              <a:gd name="connsiteY58" fmla="*/ 203585 h 542412"/>
              <a:gd name="connsiteX59" fmla="*/ 163543 w 534182"/>
              <a:gd name="connsiteY59" fmla="*/ 242129 h 542412"/>
              <a:gd name="connsiteX60" fmla="*/ 206275 w 534182"/>
              <a:gd name="connsiteY60" fmla="*/ 242129 h 542412"/>
              <a:gd name="connsiteX61" fmla="*/ 324254 w 534182"/>
              <a:gd name="connsiteY61" fmla="*/ 285726 h 542412"/>
              <a:gd name="connsiteX62" fmla="*/ 328728 w 534182"/>
              <a:gd name="connsiteY62" fmla="*/ 292150 h 542412"/>
              <a:gd name="connsiteX63" fmla="*/ 328728 w 534182"/>
              <a:gd name="connsiteY63" fmla="*/ 447477 h 542412"/>
              <a:gd name="connsiteX64" fmla="*/ 324254 w 534182"/>
              <a:gd name="connsiteY64" fmla="*/ 453900 h 542412"/>
              <a:gd name="connsiteX65" fmla="*/ 206275 w 534182"/>
              <a:gd name="connsiteY65" fmla="*/ 497501 h 542412"/>
              <a:gd name="connsiteX66" fmla="*/ 163543 w 534182"/>
              <a:gd name="connsiteY66" fmla="*/ 497501 h 542412"/>
              <a:gd name="connsiteX67" fmla="*/ 45565 w 534182"/>
              <a:gd name="connsiteY67" fmla="*/ 453900 h 542412"/>
              <a:gd name="connsiteX68" fmla="*/ 41091 w 534182"/>
              <a:gd name="connsiteY68" fmla="*/ 447477 h 542412"/>
              <a:gd name="connsiteX69" fmla="*/ 41091 w 534182"/>
              <a:gd name="connsiteY69" fmla="*/ 292150 h 542412"/>
              <a:gd name="connsiteX70" fmla="*/ 45565 w 534182"/>
              <a:gd name="connsiteY70" fmla="*/ 285726 h 542412"/>
              <a:gd name="connsiteX71" fmla="*/ 163543 w 534182"/>
              <a:gd name="connsiteY71" fmla="*/ 242129 h 542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534182" h="542412">
                <a:moveTo>
                  <a:pt x="370640" y="44913"/>
                </a:moveTo>
                <a:cubicBezTo>
                  <a:pt x="356850" y="39817"/>
                  <a:pt x="341696" y="39817"/>
                  <a:pt x="327906" y="44913"/>
                </a:cubicBezTo>
                <a:lnTo>
                  <a:pt x="209929" y="88512"/>
                </a:lnTo>
                <a:cubicBezTo>
                  <a:pt x="207240" y="89506"/>
                  <a:pt x="205455" y="92070"/>
                  <a:pt x="205455" y="94936"/>
                </a:cubicBezTo>
                <a:lnTo>
                  <a:pt x="205455" y="171453"/>
                </a:lnTo>
                <a:cubicBezTo>
                  <a:pt x="191845" y="169277"/>
                  <a:pt x="177973" y="169277"/>
                  <a:pt x="164364" y="171453"/>
                </a:cubicBezTo>
                <a:lnTo>
                  <a:pt x="164364" y="94936"/>
                </a:lnTo>
                <a:cubicBezTo>
                  <a:pt x="164364" y="74869"/>
                  <a:pt x="176862" y="56925"/>
                  <a:pt x="195685" y="49969"/>
                </a:cubicBezTo>
                <a:lnTo>
                  <a:pt x="313664" y="6370"/>
                </a:lnTo>
                <a:cubicBezTo>
                  <a:pt x="336644" y="-2123"/>
                  <a:pt x="361902" y="-2123"/>
                  <a:pt x="384882" y="6370"/>
                </a:cubicBezTo>
                <a:lnTo>
                  <a:pt x="502860" y="49969"/>
                </a:lnTo>
                <a:cubicBezTo>
                  <a:pt x="521682" y="56925"/>
                  <a:pt x="534182" y="74869"/>
                  <a:pt x="534182" y="94936"/>
                </a:cubicBezTo>
                <a:lnTo>
                  <a:pt x="534182" y="387232"/>
                </a:lnTo>
                <a:cubicBezTo>
                  <a:pt x="534182" y="407298"/>
                  <a:pt x="521682" y="425241"/>
                  <a:pt x="502860" y="432196"/>
                </a:cubicBezTo>
                <a:lnTo>
                  <a:pt x="392807" y="472868"/>
                </a:lnTo>
                <a:cubicBezTo>
                  <a:pt x="395673" y="464869"/>
                  <a:pt x="397212" y="456303"/>
                  <a:pt x="397212" y="447477"/>
                </a:cubicBezTo>
                <a:lnTo>
                  <a:pt x="397212" y="427432"/>
                </a:lnTo>
                <a:lnTo>
                  <a:pt x="488618" y="393656"/>
                </a:lnTo>
                <a:cubicBezTo>
                  <a:pt x="491305" y="392661"/>
                  <a:pt x="493091" y="390097"/>
                  <a:pt x="493091" y="387232"/>
                </a:cubicBezTo>
                <a:lnTo>
                  <a:pt x="493091" y="94936"/>
                </a:lnTo>
                <a:cubicBezTo>
                  <a:pt x="493091" y="92070"/>
                  <a:pt x="491305" y="89506"/>
                  <a:pt x="488618" y="88512"/>
                </a:cubicBezTo>
                <a:lnTo>
                  <a:pt x="370640" y="44913"/>
                </a:lnTo>
                <a:close/>
                <a:moveTo>
                  <a:pt x="260769" y="152568"/>
                </a:moveTo>
                <a:cubicBezTo>
                  <a:pt x="250044" y="148861"/>
                  <a:pt x="244357" y="137162"/>
                  <a:pt x="248063" y="126438"/>
                </a:cubicBezTo>
                <a:cubicBezTo>
                  <a:pt x="251770" y="115713"/>
                  <a:pt x="263470" y="110025"/>
                  <a:pt x="274194" y="113732"/>
                </a:cubicBezTo>
                <a:lnTo>
                  <a:pt x="347021" y="138906"/>
                </a:lnTo>
                <a:cubicBezTo>
                  <a:pt x="348473" y="139407"/>
                  <a:pt x="350051" y="139407"/>
                  <a:pt x="351500" y="138904"/>
                </a:cubicBezTo>
                <a:lnTo>
                  <a:pt x="424108" y="113745"/>
                </a:lnTo>
                <a:cubicBezTo>
                  <a:pt x="434830" y="110030"/>
                  <a:pt x="446532" y="115710"/>
                  <a:pt x="450247" y="126431"/>
                </a:cubicBezTo>
                <a:cubicBezTo>
                  <a:pt x="453962" y="137153"/>
                  <a:pt x="448283" y="148856"/>
                  <a:pt x="437561" y="152571"/>
                </a:cubicBezTo>
                <a:lnTo>
                  <a:pt x="364956" y="177730"/>
                </a:lnTo>
                <a:cubicBezTo>
                  <a:pt x="354798" y="181249"/>
                  <a:pt x="343756" y="181253"/>
                  <a:pt x="333598" y="177742"/>
                </a:cubicBezTo>
                <a:lnTo>
                  <a:pt x="260769" y="152568"/>
                </a:lnTo>
                <a:close/>
                <a:moveTo>
                  <a:pt x="96405" y="344325"/>
                </a:moveTo>
                <a:cubicBezTo>
                  <a:pt x="85681" y="340618"/>
                  <a:pt x="79992" y="328921"/>
                  <a:pt x="83699" y="318196"/>
                </a:cubicBezTo>
                <a:cubicBezTo>
                  <a:pt x="87406" y="307472"/>
                  <a:pt x="99105" y="301782"/>
                  <a:pt x="109829" y="305488"/>
                </a:cubicBezTo>
                <a:lnTo>
                  <a:pt x="184898" y="331439"/>
                </a:lnTo>
                <a:lnTo>
                  <a:pt x="259744" y="305502"/>
                </a:lnTo>
                <a:cubicBezTo>
                  <a:pt x="270466" y="301787"/>
                  <a:pt x="282169" y="307469"/>
                  <a:pt x="285883" y="318188"/>
                </a:cubicBezTo>
                <a:cubicBezTo>
                  <a:pt x="289598" y="328910"/>
                  <a:pt x="283919" y="340613"/>
                  <a:pt x="273197" y="344330"/>
                </a:cubicBezTo>
                <a:lnTo>
                  <a:pt x="205452" y="367804"/>
                </a:lnTo>
                <a:lnTo>
                  <a:pt x="205452" y="441746"/>
                </a:lnTo>
                <a:cubicBezTo>
                  <a:pt x="205452" y="453095"/>
                  <a:pt x="196253" y="462291"/>
                  <a:pt x="184906" y="462291"/>
                </a:cubicBezTo>
                <a:cubicBezTo>
                  <a:pt x="173559" y="462291"/>
                  <a:pt x="164361" y="453095"/>
                  <a:pt x="164361" y="441746"/>
                </a:cubicBezTo>
                <a:lnTo>
                  <a:pt x="164361" y="367815"/>
                </a:lnTo>
                <a:lnTo>
                  <a:pt x="96405" y="344325"/>
                </a:lnTo>
                <a:close/>
                <a:moveTo>
                  <a:pt x="220519" y="203585"/>
                </a:moveTo>
                <a:cubicBezTo>
                  <a:pt x="197539" y="195092"/>
                  <a:pt x="172280" y="195092"/>
                  <a:pt x="149299" y="203585"/>
                </a:cubicBezTo>
                <a:lnTo>
                  <a:pt x="31321" y="247186"/>
                </a:lnTo>
                <a:cubicBezTo>
                  <a:pt x="12498" y="254141"/>
                  <a:pt x="0" y="272084"/>
                  <a:pt x="0" y="292150"/>
                </a:cubicBezTo>
                <a:lnTo>
                  <a:pt x="0" y="447477"/>
                </a:lnTo>
                <a:cubicBezTo>
                  <a:pt x="0" y="467543"/>
                  <a:pt x="12498" y="485486"/>
                  <a:pt x="31321" y="492444"/>
                </a:cubicBezTo>
                <a:lnTo>
                  <a:pt x="149299" y="536041"/>
                </a:lnTo>
                <a:cubicBezTo>
                  <a:pt x="172280" y="544536"/>
                  <a:pt x="197539" y="544536"/>
                  <a:pt x="220519" y="536041"/>
                </a:cubicBezTo>
                <a:lnTo>
                  <a:pt x="338496" y="492444"/>
                </a:lnTo>
                <a:cubicBezTo>
                  <a:pt x="357319" y="485486"/>
                  <a:pt x="369818" y="467543"/>
                  <a:pt x="369818" y="447477"/>
                </a:cubicBezTo>
                <a:lnTo>
                  <a:pt x="369818" y="292150"/>
                </a:lnTo>
                <a:cubicBezTo>
                  <a:pt x="369818" y="272084"/>
                  <a:pt x="357319" y="254141"/>
                  <a:pt x="338496" y="247186"/>
                </a:cubicBezTo>
                <a:lnTo>
                  <a:pt x="220519" y="203585"/>
                </a:lnTo>
                <a:close/>
                <a:moveTo>
                  <a:pt x="163543" y="242129"/>
                </a:moveTo>
                <a:cubicBezTo>
                  <a:pt x="177332" y="237031"/>
                  <a:pt x="192487" y="237031"/>
                  <a:pt x="206275" y="242129"/>
                </a:cubicBezTo>
                <a:lnTo>
                  <a:pt x="324254" y="285726"/>
                </a:lnTo>
                <a:cubicBezTo>
                  <a:pt x="326941" y="286721"/>
                  <a:pt x="328728" y="289285"/>
                  <a:pt x="328728" y="292150"/>
                </a:cubicBezTo>
                <a:lnTo>
                  <a:pt x="328728" y="447477"/>
                </a:lnTo>
                <a:cubicBezTo>
                  <a:pt x="328728" y="450342"/>
                  <a:pt x="326941" y="452906"/>
                  <a:pt x="324254" y="453900"/>
                </a:cubicBezTo>
                <a:lnTo>
                  <a:pt x="206275" y="497501"/>
                </a:lnTo>
                <a:cubicBezTo>
                  <a:pt x="192487" y="502596"/>
                  <a:pt x="177332" y="502596"/>
                  <a:pt x="163543" y="497501"/>
                </a:cubicBezTo>
                <a:lnTo>
                  <a:pt x="45565" y="453900"/>
                </a:lnTo>
                <a:cubicBezTo>
                  <a:pt x="42876" y="452906"/>
                  <a:pt x="41091" y="450342"/>
                  <a:pt x="41091" y="447477"/>
                </a:cubicBezTo>
                <a:lnTo>
                  <a:pt x="41091" y="292150"/>
                </a:lnTo>
                <a:cubicBezTo>
                  <a:pt x="41091" y="289285"/>
                  <a:pt x="42876" y="286721"/>
                  <a:pt x="45565" y="285726"/>
                </a:cubicBezTo>
                <a:lnTo>
                  <a:pt x="163543" y="242129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3" name="Graphic 66" descr="Brain circuit&#10;Keyword: fluent-icon, outlook;&#10;Metaphor: think, ai;&#10;&#10;">
            <a:extLst>
              <a:ext uri="{FF2B5EF4-FFF2-40B4-BE49-F238E27FC236}">
                <a16:creationId xmlns:a16="http://schemas.microsoft.com/office/drawing/2014/main" id="{31484DAA-8039-8783-F7C4-F4AFEDB90588}"/>
              </a:ext>
            </a:extLst>
          </p:cNvPr>
          <p:cNvSpPr/>
          <p:nvPr/>
        </p:nvSpPr>
        <p:spPr>
          <a:xfrm>
            <a:off x="7225722" y="3170932"/>
            <a:ext cx="547518" cy="547611"/>
          </a:xfrm>
          <a:custGeom>
            <a:avLst/>
            <a:gdLst>
              <a:gd name="connsiteX0" fmla="*/ 140769 w 547518"/>
              <a:gd name="connsiteY0" fmla="*/ 27549 h 547611"/>
              <a:gd name="connsiteX1" fmla="*/ 222974 w 547518"/>
              <a:gd name="connsiteY1" fmla="*/ 0 h 547611"/>
              <a:gd name="connsiteX2" fmla="*/ 265889 w 547518"/>
              <a:gd name="connsiteY2" fmla="*/ 15748 h 547611"/>
              <a:gd name="connsiteX3" fmla="*/ 273759 w 547518"/>
              <a:gd name="connsiteY3" fmla="*/ 24090 h 547611"/>
              <a:gd name="connsiteX4" fmla="*/ 281630 w 547518"/>
              <a:gd name="connsiteY4" fmla="*/ 15748 h 547611"/>
              <a:gd name="connsiteX5" fmla="*/ 324545 w 547518"/>
              <a:gd name="connsiteY5" fmla="*/ 0 h 547611"/>
              <a:gd name="connsiteX6" fmla="*/ 406749 w 547518"/>
              <a:gd name="connsiteY6" fmla="*/ 27549 h 547611"/>
              <a:gd name="connsiteX7" fmla="*/ 443810 w 547518"/>
              <a:gd name="connsiteY7" fmla="*/ 83374 h 547611"/>
              <a:gd name="connsiteX8" fmla="*/ 473820 w 547518"/>
              <a:gd name="connsiteY8" fmla="*/ 98905 h 547611"/>
              <a:gd name="connsiteX9" fmla="*/ 502255 w 547518"/>
              <a:gd name="connsiteY9" fmla="*/ 147494 h 547611"/>
              <a:gd name="connsiteX10" fmla="*/ 510334 w 547518"/>
              <a:gd name="connsiteY10" fmla="*/ 207246 h 547611"/>
              <a:gd name="connsiteX11" fmla="*/ 505471 w 547518"/>
              <a:gd name="connsiteY11" fmla="*/ 238109 h 547611"/>
              <a:gd name="connsiteX12" fmla="*/ 507271 w 547518"/>
              <a:gd name="connsiteY12" fmla="*/ 238920 h 547611"/>
              <a:gd name="connsiteX13" fmla="*/ 531775 w 547518"/>
              <a:gd name="connsiteY13" fmla="*/ 261126 h 547611"/>
              <a:gd name="connsiteX14" fmla="*/ 547518 w 547518"/>
              <a:gd name="connsiteY14" fmla="*/ 341341 h 547611"/>
              <a:gd name="connsiteX15" fmla="*/ 512939 w 547518"/>
              <a:gd name="connsiteY15" fmla="*/ 424471 h 547611"/>
              <a:gd name="connsiteX16" fmla="*/ 478159 w 547518"/>
              <a:gd name="connsiteY16" fmla="*/ 443361 h 547611"/>
              <a:gd name="connsiteX17" fmla="*/ 450242 w 547518"/>
              <a:gd name="connsiteY17" fmla="*/ 501905 h 547611"/>
              <a:gd name="connsiteX18" fmla="*/ 358281 w 547518"/>
              <a:gd name="connsiteY18" fmla="*/ 547612 h 547611"/>
              <a:gd name="connsiteX19" fmla="*/ 282262 w 547518"/>
              <a:gd name="connsiteY19" fmla="*/ 511698 h 547611"/>
              <a:gd name="connsiteX20" fmla="*/ 273759 w 547518"/>
              <a:gd name="connsiteY20" fmla="*/ 501952 h 547611"/>
              <a:gd name="connsiteX21" fmla="*/ 265254 w 547518"/>
              <a:gd name="connsiteY21" fmla="*/ 511698 h 547611"/>
              <a:gd name="connsiteX22" fmla="*/ 189236 w 547518"/>
              <a:gd name="connsiteY22" fmla="*/ 547612 h 547611"/>
              <a:gd name="connsiteX23" fmla="*/ 97276 w 547518"/>
              <a:gd name="connsiteY23" fmla="*/ 501905 h 547611"/>
              <a:gd name="connsiteX24" fmla="*/ 69359 w 547518"/>
              <a:gd name="connsiteY24" fmla="*/ 443361 h 547611"/>
              <a:gd name="connsiteX25" fmla="*/ 34580 w 547518"/>
              <a:gd name="connsiteY25" fmla="*/ 424471 h 547611"/>
              <a:gd name="connsiteX26" fmla="*/ 0 w 547518"/>
              <a:gd name="connsiteY26" fmla="*/ 341341 h 547611"/>
              <a:gd name="connsiteX27" fmla="*/ 15742 w 547518"/>
              <a:gd name="connsiteY27" fmla="*/ 261126 h 547611"/>
              <a:gd name="connsiteX28" fmla="*/ 40247 w 547518"/>
              <a:gd name="connsiteY28" fmla="*/ 238920 h 547611"/>
              <a:gd name="connsiteX29" fmla="*/ 42047 w 547518"/>
              <a:gd name="connsiteY29" fmla="*/ 238109 h 547611"/>
              <a:gd name="connsiteX30" fmla="*/ 37185 w 547518"/>
              <a:gd name="connsiteY30" fmla="*/ 207246 h 547611"/>
              <a:gd name="connsiteX31" fmla="*/ 45264 w 547518"/>
              <a:gd name="connsiteY31" fmla="*/ 147494 h 547611"/>
              <a:gd name="connsiteX32" fmla="*/ 73699 w 547518"/>
              <a:gd name="connsiteY32" fmla="*/ 98905 h 547611"/>
              <a:gd name="connsiteX33" fmla="*/ 103708 w 547518"/>
              <a:gd name="connsiteY33" fmla="*/ 83374 h 547611"/>
              <a:gd name="connsiteX34" fmla="*/ 140769 w 547518"/>
              <a:gd name="connsiteY34" fmla="*/ 27549 h 547611"/>
              <a:gd name="connsiteX35" fmla="*/ 166010 w 547518"/>
              <a:gd name="connsiteY35" fmla="*/ 59973 h 547611"/>
              <a:gd name="connsiteX36" fmla="*/ 142305 w 547518"/>
              <a:gd name="connsiteY36" fmla="*/ 104965 h 547611"/>
              <a:gd name="connsiteX37" fmla="*/ 133771 w 547518"/>
              <a:gd name="connsiteY37" fmla="*/ 121634 h 547611"/>
              <a:gd name="connsiteX38" fmla="*/ 115258 w 547518"/>
              <a:gd name="connsiteY38" fmla="*/ 124455 h 547611"/>
              <a:gd name="connsiteX39" fmla="*/ 101817 w 547518"/>
              <a:gd name="connsiteY39" fmla="*/ 128869 h 547611"/>
              <a:gd name="connsiteX40" fmla="*/ 84389 w 547518"/>
              <a:gd name="connsiteY40" fmla="*/ 160053 h 547611"/>
              <a:gd name="connsiteX41" fmla="*/ 78235 w 547518"/>
              <a:gd name="connsiteY41" fmla="*/ 205401 h 547611"/>
              <a:gd name="connsiteX42" fmla="*/ 88252 w 547518"/>
              <a:gd name="connsiteY42" fmla="*/ 241843 h 547611"/>
              <a:gd name="connsiteX43" fmla="*/ 90524 w 547518"/>
              <a:gd name="connsiteY43" fmla="*/ 246385 h 547611"/>
              <a:gd name="connsiteX44" fmla="*/ 120167 w 547518"/>
              <a:gd name="connsiteY44" fmla="*/ 246385 h 547611"/>
              <a:gd name="connsiteX45" fmla="*/ 198036 w 547518"/>
              <a:gd name="connsiteY45" fmla="*/ 318768 h 547611"/>
              <a:gd name="connsiteX46" fmla="*/ 232488 w 547518"/>
              <a:gd name="connsiteY46" fmla="*/ 369658 h 547611"/>
              <a:gd name="connsiteX47" fmla="*/ 177700 w 547518"/>
              <a:gd name="connsiteY47" fmla="*/ 424446 h 547611"/>
              <a:gd name="connsiteX48" fmla="*/ 122912 w 547518"/>
              <a:gd name="connsiteY48" fmla="*/ 369658 h 547611"/>
              <a:gd name="connsiteX49" fmla="*/ 156752 w 547518"/>
              <a:gd name="connsiteY49" fmla="*/ 319017 h 547611"/>
              <a:gd name="connsiteX50" fmla="*/ 120167 w 547518"/>
              <a:gd name="connsiteY50" fmla="*/ 287476 h 547611"/>
              <a:gd name="connsiteX51" fmla="*/ 48943 w 547518"/>
              <a:gd name="connsiteY51" fmla="*/ 287476 h 547611"/>
              <a:gd name="connsiteX52" fmla="*/ 48254 w 547518"/>
              <a:gd name="connsiteY52" fmla="*/ 287465 h 547611"/>
              <a:gd name="connsiteX53" fmla="*/ 41091 w 547518"/>
              <a:gd name="connsiteY53" fmla="*/ 341341 h 547611"/>
              <a:gd name="connsiteX54" fmla="*/ 61335 w 547518"/>
              <a:gd name="connsiteY54" fmla="*/ 393285 h 547611"/>
              <a:gd name="connsiteX55" fmla="*/ 88022 w 547518"/>
              <a:gd name="connsiteY55" fmla="*/ 405215 h 547611"/>
              <a:gd name="connsiteX56" fmla="*/ 108567 w 547518"/>
              <a:gd name="connsiteY56" fmla="*/ 425761 h 547611"/>
              <a:gd name="connsiteX57" fmla="*/ 129374 w 547518"/>
              <a:gd name="connsiteY57" fmla="*/ 476251 h 547611"/>
              <a:gd name="connsiteX58" fmla="*/ 189236 w 547518"/>
              <a:gd name="connsiteY58" fmla="*/ 506521 h 547611"/>
              <a:gd name="connsiteX59" fmla="*/ 235517 w 547518"/>
              <a:gd name="connsiteY59" fmla="*/ 483340 h 547611"/>
              <a:gd name="connsiteX60" fmla="*/ 249718 w 547518"/>
              <a:gd name="connsiteY60" fmla="*/ 464570 h 547611"/>
              <a:gd name="connsiteX61" fmla="*/ 252893 w 547518"/>
              <a:gd name="connsiteY61" fmla="*/ 458192 h 547611"/>
              <a:gd name="connsiteX62" fmla="*/ 253036 w 547518"/>
              <a:gd name="connsiteY62" fmla="*/ 457820 h 547611"/>
              <a:gd name="connsiteX63" fmla="*/ 253036 w 547518"/>
              <a:gd name="connsiteY63" fmla="*/ 390557 h 547611"/>
              <a:gd name="connsiteX64" fmla="*/ 253033 w 547518"/>
              <a:gd name="connsiteY64" fmla="*/ 390203 h 547611"/>
              <a:gd name="connsiteX65" fmla="*/ 253036 w 547518"/>
              <a:gd name="connsiteY65" fmla="*/ 389850 h 547611"/>
              <a:gd name="connsiteX66" fmla="*/ 253036 w 547518"/>
              <a:gd name="connsiteY66" fmla="*/ 198445 h 547611"/>
              <a:gd name="connsiteX67" fmla="*/ 228505 w 547518"/>
              <a:gd name="connsiteY67" fmla="*/ 198445 h 547611"/>
              <a:gd name="connsiteX68" fmla="*/ 177700 w 547518"/>
              <a:gd name="connsiteY68" fmla="*/ 232688 h 547611"/>
              <a:gd name="connsiteX69" fmla="*/ 122912 w 547518"/>
              <a:gd name="connsiteY69" fmla="*/ 177900 h 547611"/>
              <a:gd name="connsiteX70" fmla="*/ 177700 w 547518"/>
              <a:gd name="connsiteY70" fmla="*/ 123112 h 547611"/>
              <a:gd name="connsiteX71" fmla="*/ 228505 w 547518"/>
              <a:gd name="connsiteY71" fmla="*/ 157354 h 547611"/>
              <a:gd name="connsiteX72" fmla="*/ 253036 w 547518"/>
              <a:gd name="connsiteY72" fmla="*/ 157354 h 547611"/>
              <a:gd name="connsiteX73" fmla="*/ 253036 w 547518"/>
              <a:gd name="connsiteY73" fmla="*/ 88147 h 547611"/>
              <a:gd name="connsiteX74" fmla="*/ 253030 w 547518"/>
              <a:gd name="connsiteY74" fmla="*/ 87836 h 547611"/>
              <a:gd name="connsiteX75" fmla="*/ 252967 w 547518"/>
              <a:gd name="connsiteY75" fmla="*/ 86278 h 547611"/>
              <a:gd name="connsiteX76" fmla="*/ 252403 w 547518"/>
              <a:gd name="connsiteY76" fmla="*/ 80075 h 547611"/>
              <a:gd name="connsiteX77" fmla="*/ 248017 w 547518"/>
              <a:gd name="connsiteY77" fmla="*/ 61522 h 547611"/>
              <a:gd name="connsiteX78" fmla="*/ 238575 w 547518"/>
              <a:gd name="connsiteY78" fmla="*/ 46448 h 547611"/>
              <a:gd name="connsiteX79" fmla="*/ 222974 w 547518"/>
              <a:gd name="connsiteY79" fmla="*/ 41091 h 547611"/>
              <a:gd name="connsiteX80" fmla="*/ 166010 w 547518"/>
              <a:gd name="connsiteY80" fmla="*/ 59973 h 547611"/>
              <a:gd name="connsiteX81" fmla="*/ 294483 w 547518"/>
              <a:gd name="connsiteY81" fmla="*/ 410749 h 547611"/>
              <a:gd name="connsiteX82" fmla="*/ 294483 w 547518"/>
              <a:gd name="connsiteY82" fmla="*/ 457820 h 547611"/>
              <a:gd name="connsiteX83" fmla="*/ 294623 w 547518"/>
              <a:gd name="connsiteY83" fmla="*/ 458192 h 547611"/>
              <a:gd name="connsiteX84" fmla="*/ 297800 w 547518"/>
              <a:gd name="connsiteY84" fmla="*/ 464570 h 547611"/>
              <a:gd name="connsiteX85" fmla="*/ 311999 w 547518"/>
              <a:gd name="connsiteY85" fmla="*/ 483340 h 547611"/>
              <a:gd name="connsiteX86" fmla="*/ 358281 w 547518"/>
              <a:gd name="connsiteY86" fmla="*/ 506521 h 547611"/>
              <a:gd name="connsiteX87" fmla="*/ 418145 w 547518"/>
              <a:gd name="connsiteY87" fmla="*/ 476251 h 547611"/>
              <a:gd name="connsiteX88" fmla="*/ 438950 w 547518"/>
              <a:gd name="connsiteY88" fmla="*/ 425761 h 547611"/>
              <a:gd name="connsiteX89" fmla="*/ 459496 w 547518"/>
              <a:gd name="connsiteY89" fmla="*/ 405215 h 547611"/>
              <a:gd name="connsiteX90" fmla="*/ 486183 w 547518"/>
              <a:gd name="connsiteY90" fmla="*/ 393285 h 547611"/>
              <a:gd name="connsiteX91" fmla="*/ 506427 w 547518"/>
              <a:gd name="connsiteY91" fmla="*/ 341341 h 547611"/>
              <a:gd name="connsiteX92" fmla="*/ 496867 w 547518"/>
              <a:gd name="connsiteY92" fmla="*/ 282800 h 547611"/>
              <a:gd name="connsiteX93" fmla="*/ 489742 w 547518"/>
              <a:gd name="connsiteY93" fmla="*/ 276086 h 547611"/>
              <a:gd name="connsiteX94" fmla="*/ 476365 w 547518"/>
              <a:gd name="connsiteY94" fmla="*/ 273779 h 547611"/>
              <a:gd name="connsiteX95" fmla="*/ 458252 w 547518"/>
              <a:gd name="connsiteY95" fmla="*/ 262931 h 547611"/>
              <a:gd name="connsiteX96" fmla="*/ 459266 w 547518"/>
              <a:gd name="connsiteY96" fmla="*/ 241843 h 547611"/>
              <a:gd name="connsiteX97" fmla="*/ 469284 w 547518"/>
              <a:gd name="connsiteY97" fmla="*/ 205401 h 547611"/>
              <a:gd name="connsiteX98" fmla="*/ 463128 w 547518"/>
              <a:gd name="connsiteY98" fmla="*/ 160053 h 547611"/>
              <a:gd name="connsiteX99" fmla="*/ 445700 w 547518"/>
              <a:gd name="connsiteY99" fmla="*/ 128869 h 547611"/>
              <a:gd name="connsiteX100" fmla="*/ 432261 w 547518"/>
              <a:gd name="connsiteY100" fmla="*/ 124455 h 547611"/>
              <a:gd name="connsiteX101" fmla="*/ 413748 w 547518"/>
              <a:gd name="connsiteY101" fmla="*/ 121634 h 547611"/>
              <a:gd name="connsiteX102" fmla="*/ 405212 w 547518"/>
              <a:gd name="connsiteY102" fmla="*/ 104965 h 547611"/>
              <a:gd name="connsiteX103" fmla="*/ 381508 w 547518"/>
              <a:gd name="connsiteY103" fmla="*/ 59973 h 547611"/>
              <a:gd name="connsiteX104" fmla="*/ 324545 w 547518"/>
              <a:gd name="connsiteY104" fmla="*/ 41091 h 547611"/>
              <a:gd name="connsiteX105" fmla="*/ 308944 w 547518"/>
              <a:gd name="connsiteY105" fmla="*/ 46448 h 547611"/>
              <a:gd name="connsiteX106" fmla="*/ 299501 w 547518"/>
              <a:gd name="connsiteY106" fmla="*/ 61522 h 547611"/>
              <a:gd name="connsiteX107" fmla="*/ 295116 w 547518"/>
              <a:gd name="connsiteY107" fmla="*/ 80075 h 547611"/>
              <a:gd name="connsiteX108" fmla="*/ 294551 w 547518"/>
              <a:gd name="connsiteY108" fmla="*/ 86278 h 547611"/>
              <a:gd name="connsiteX109" fmla="*/ 294488 w 547518"/>
              <a:gd name="connsiteY109" fmla="*/ 87836 h 547611"/>
              <a:gd name="connsiteX110" fmla="*/ 294483 w 547518"/>
              <a:gd name="connsiteY110" fmla="*/ 88147 h 547611"/>
              <a:gd name="connsiteX111" fmla="*/ 294483 w 547518"/>
              <a:gd name="connsiteY111" fmla="*/ 369658 h 547611"/>
              <a:gd name="connsiteX112" fmla="*/ 311930 w 547518"/>
              <a:gd name="connsiteY112" fmla="*/ 369658 h 547611"/>
              <a:gd name="connsiteX113" fmla="*/ 348912 w 547518"/>
              <a:gd name="connsiteY113" fmla="*/ 332676 h 547611"/>
              <a:gd name="connsiteX114" fmla="*/ 348912 w 547518"/>
              <a:gd name="connsiteY114" fmla="*/ 283493 h 547611"/>
              <a:gd name="connsiteX115" fmla="*/ 314669 w 547518"/>
              <a:gd name="connsiteY115" fmla="*/ 232688 h 547611"/>
              <a:gd name="connsiteX116" fmla="*/ 369457 w 547518"/>
              <a:gd name="connsiteY116" fmla="*/ 177900 h 547611"/>
              <a:gd name="connsiteX117" fmla="*/ 424245 w 547518"/>
              <a:gd name="connsiteY117" fmla="*/ 232688 h 547611"/>
              <a:gd name="connsiteX118" fmla="*/ 390003 w 547518"/>
              <a:gd name="connsiteY118" fmla="*/ 283493 h 547611"/>
              <a:gd name="connsiteX119" fmla="*/ 390003 w 547518"/>
              <a:gd name="connsiteY119" fmla="*/ 332676 h 547611"/>
              <a:gd name="connsiteX120" fmla="*/ 311930 w 547518"/>
              <a:gd name="connsiteY120" fmla="*/ 410749 h 547611"/>
              <a:gd name="connsiteX121" fmla="*/ 294483 w 547518"/>
              <a:gd name="connsiteY121" fmla="*/ 410749 h 547611"/>
              <a:gd name="connsiteX122" fmla="*/ 177700 w 547518"/>
              <a:gd name="connsiteY122" fmla="*/ 164203 h 547611"/>
              <a:gd name="connsiteX123" fmla="*/ 164003 w 547518"/>
              <a:gd name="connsiteY123" fmla="*/ 177900 h 547611"/>
              <a:gd name="connsiteX124" fmla="*/ 177700 w 547518"/>
              <a:gd name="connsiteY124" fmla="*/ 191597 h 547611"/>
              <a:gd name="connsiteX125" fmla="*/ 191397 w 547518"/>
              <a:gd name="connsiteY125" fmla="*/ 177900 h 547611"/>
              <a:gd name="connsiteX126" fmla="*/ 177700 w 547518"/>
              <a:gd name="connsiteY126" fmla="*/ 164203 h 547611"/>
              <a:gd name="connsiteX127" fmla="*/ 164003 w 547518"/>
              <a:gd name="connsiteY127" fmla="*/ 369658 h 547611"/>
              <a:gd name="connsiteX128" fmla="*/ 177700 w 547518"/>
              <a:gd name="connsiteY128" fmla="*/ 383355 h 547611"/>
              <a:gd name="connsiteX129" fmla="*/ 191397 w 547518"/>
              <a:gd name="connsiteY129" fmla="*/ 369658 h 547611"/>
              <a:gd name="connsiteX130" fmla="*/ 177700 w 547518"/>
              <a:gd name="connsiteY130" fmla="*/ 355961 h 547611"/>
              <a:gd name="connsiteX131" fmla="*/ 164003 w 547518"/>
              <a:gd name="connsiteY131" fmla="*/ 369658 h 547611"/>
              <a:gd name="connsiteX132" fmla="*/ 355760 w 547518"/>
              <a:gd name="connsiteY132" fmla="*/ 232688 h 547611"/>
              <a:gd name="connsiteX133" fmla="*/ 369457 w 547518"/>
              <a:gd name="connsiteY133" fmla="*/ 246385 h 547611"/>
              <a:gd name="connsiteX134" fmla="*/ 383154 w 547518"/>
              <a:gd name="connsiteY134" fmla="*/ 232688 h 547611"/>
              <a:gd name="connsiteX135" fmla="*/ 369457 w 547518"/>
              <a:gd name="connsiteY135" fmla="*/ 218991 h 547611"/>
              <a:gd name="connsiteX136" fmla="*/ 355760 w 547518"/>
              <a:gd name="connsiteY136" fmla="*/ 232688 h 5476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</a:cxnLst>
            <a:rect l="l" t="t" r="r" b="b"/>
            <a:pathLst>
              <a:path w="547518" h="547611">
                <a:moveTo>
                  <a:pt x="140769" y="27549"/>
                </a:moveTo>
                <a:cubicBezTo>
                  <a:pt x="163551" y="9814"/>
                  <a:pt x="193355" y="0"/>
                  <a:pt x="222974" y="0"/>
                </a:cubicBezTo>
                <a:cubicBezTo>
                  <a:pt x="240684" y="0"/>
                  <a:pt x="255025" y="6084"/>
                  <a:pt x="265889" y="15748"/>
                </a:cubicBezTo>
                <a:cubicBezTo>
                  <a:pt x="268828" y="18363"/>
                  <a:pt x="271439" y="21172"/>
                  <a:pt x="273759" y="24090"/>
                </a:cubicBezTo>
                <a:cubicBezTo>
                  <a:pt x="276080" y="21172"/>
                  <a:pt x="278690" y="18363"/>
                  <a:pt x="281630" y="15748"/>
                </a:cubicBezTo>
                <a:cubicBezTo>
                  <a:pt x="292491" y="6084"/>
                  <a:pt x="306835" y="0"/>
                  <a:pt x="324545" y="0"/>
                </a:cubicBezTo>
                <a:cubicBezTo>
                  <a:pt x="354163" y="0"/>
                  <a:pt x="383968" y="9814"/>
                  <a:pt x="406749" y="27549"/>
                </a:cubicBezTo>
                <a:cubicBezTo>
                  <a:pt x="424473" y="41347"/>
                  <a:pt x="438367" y="60367"/>
                  <a:pt x="443810" y="83374"/>
                </a:cubicBezTo>
                <a:cubicBezTo>
                  <a:pt x="455321" y="85277"/>
                  <a:pt x="465550" y="91144"/>
                  <a:pt x="473820" y="98905"/>
                </a:cubicBezTo>
                <a:cubicBezTo>
                  <a:pt x="486988" y="111263"/>
                  <a:pt x="496354" y="129118"/>
                  <a:pt x="502255" y="147494"/>
                </a:cubicBezTo>
                <a:cubicBezTo>
                  <a:pt x="508241" y="166148"/>
                  <a:pt x="511238" y="187117"/>
                  <a:pt x="510334" y="207246"/>
                </a:cubicBezTo>
                <a:cubicBezTo>
                  <a:pt x="509871" y="217551"/>
                  <a:pt x="508361" y="228053"/>
                  <a:pt x="505471" y="238109"/>
                </a:cubicBezTo>
                <a:cubicBezTo>
                  <a:pt x="506074" y="238370"/>
                  <a:pt x="506674" y="238641"/>
                  <a:pt x="507271" y="238920"/>
                </a:cubicBezTo>
                <a:cubicBezTo>
                  <a:pt x="517412" y="243703"/>
                  <a:pt x="525608" y="251190"/>
                  <a:pt x="531775" y="261126"/>
                </a:cubicBezTo>
                <a:cubicBezTo>
                  <a:pt x="543420" y="279882"/>
                  <a:pt x="547518" y="306909"/>
                  <a:pt x="547518" y="341341"/>
                </a:cubicBezTo>
                <a:cubicBezTo>
                  <a:pt x="547518" y="380911"/>
                  <a:pt x="532394" y="407782"/>
                  <a:pt x="512939" y="424471"/>
                </a:cubicBezTo>
                <a:cubicBezTo>
                  <a:pt x="501650" y="434154"/>
                  <a:pt x="489191" y="440156"/>
                  <a:pt x="478159" y="443361"/>
                </a:cubicBezTo>
                <a:cubicBezTo>
                  <a:pt x="474338" y="462334"/>
                  <a:pt x="464780" y="483715"/>
                  <a:pt x="450242" y="501905"/>
                </a:cubicBezTo>
                <a:cubicBezTo>
                  <a:pt x="430442" y="526677"/>
                  <a:pt x="399665" y="547612"/>
                  <a:pt x="358281" y="547612"/>
                </a:cubicBezTo>
                <a:cubicBezTo>
                  <a:pt x="325126" y="547612"/>
                  <a:pt x="299028" y="529277"/>
                  <a:pt x="282262" y="511698"/>
                </a:cubicBezTo>
                <a:cubicBezTo>
                  <a:pt x="279197" y="508482"/>
                  <a:pt x="276356" y="505209"/>
                  <a:pt x="273759" y="501952"/>
                </a:cubicBezTo>
                <a:cubicBezTo>
                  <a:pt x="271160" y="505209"/>
                  <a:pt x="268322" y="508482"/>
                  <a:pt x="265254" y="511698"/>
                </a:cubicBezTo>
                <a:cubicBezTo>
                  <a:pt x="248491" y="529277"/>
                  <a:pt x="222390" y="547612"/>
                  <a:pt x="189236" y="547612"/>
                </a:cubicBezTo>
                <a:cubicBezTo>
                  <a:pt x="147853" y="547612"/>
                  <a:pt x="117077" y="526677"/>
                  <a:pt x="97276" y="501905"/>
                </a:cubicBezTo>
                <a:cubicBezTo>
                  <a:pt x="82737" y="483715"/>
                  <a:pt x="73180" y="462334"/>
                  <a:pt x="69359" y="443361"/>
                </a:cubicBezTo>
                <a:cubicBezTo>
                  <a:pt x="58327" y="440156"/>
                  <a:pt x="45868" y="434154"/>
                  <a:pt x="34580" y="424471"/>
                </a:cubicBezTo>
                <a:cubicBezTo>
                  <a:pt x="15125" y="407782"/>
                  <a:pt x="0" y="380911"/>
                  <a:pt x="0" y="341341"/>
                </a:cubicBezTo>
                <a:cubicBezTo>
                  <a:pt x="0" y="306909"/>
                  <a:pt x="4097" y="279882"/>
                  <a:pt x="15742" y="261126"/>
                </a:cubicBezTo>
                <a:cubicBezTo>
                  <a:pt x="21910" y="251190"/>
                  <a:pt x="30107" y="243703"/>
                  <a:pt x="40247" y="238920"/>
                </a:cubicBezTo>
                <a:cubicBezTo>
                  <a:pt x="40844" y="238641"/>
                  <a:pt x="41444" y="238370"/>
                  <a:pt x="42047" y="238109"/>
                </a:cubicBezTo>
                <a:cubicBezTo>
                  <a:pt x="39157" y="228053"/>
                  <a:pt x="37649" y="217551"/>
                  <a:pt x="37185" y="207246"/>
                </a:cubicBezTo>
                <a:cubicBezTo>
                  <a:pt x="36281" y="187117"/>
                  <a:pt x="39277" y="166148"/>
                  <a:pt x="45264" y="147494"/>
                </a:cubicBezTo>
                <a:cubicBezTo>
                  <a:pt x="51163" y="129118"/>
                  <a:pt x="60529" y="111263"/>
                  <a:pt x="73699" y="98905"/>
                </a:cubicBezTo>
                <a:cubicBezTo>
                  <a:pt x="81970" y="91144"/>
                  <a:pt x="92198" y="85277"/>
                  <a:pt x="103708" y="83374"/>
                </a:cubicBezTo>
                <a:cubicBezTo>
                  <a:pt x="109152" y="60367"/>
                  <a:pt x="123044" y="41347"/>
                  <a:pt x="140769" y="27549"/>
                </a:cubicBezTo>
                <a:close/>
                <a:moveTo>
                  <a:pt x="166010" y="59973"/>
                </a:moveTo>
                <a:cubicBezTo>
                  <a:pt x="151060" y="71612"/>
                  <a:pt x="142305" y="87116"/>
                  <a:pt x="142305" y="104965"/>
                </a:cubicBezTo>
                <a:cubicBezTo>
                  <a:pt x="142305" y="111571"/>
                  <a:pt x="139130" y="117773"/>
                  <a:pt x="133771" y="121634"/>
                </a:cubicBezTo>
                <a:cubicBezTo>
                  <a:pt x="128412" y="125496"/>
                  <a:pt x="121523" y="126545"/>
                  <a:pt x="115258" y="124455"/>
                </a:cubicBezTo>
                <a:cubicBezTo>
                  <a:pt x="111494" y="123199"/>
                  <a:pt x="107533" y="123505"/>
                  <a:pt x="101817" y="128869"/>
                </a:cubicBezTo>
                <a:cubicBezTo>
                  <a:pt x="95483" y="134813"/>
                  <a:pt x="89034" y="145583"/>
                  <a:pt x="84389" y="160053"/>
                </a:cubicBezTo>
                <a:cubicBezTo>
                  <a:pt x="79834" y="174245"/>
                  <a:pt x="77558" y="190343"/>
                  <a:pt x="78235" y="205401"/>
                </a:cubicBezTo>
                <a:cubicBezTo>
                  <a:pt x="78920" y="220648"/>
                  <a:pt x="82546" y="233277"/>
                  <a:pt x="88252" y="241843"/>
                </a:cubicBezTo>
                <a:cubicBezTo>
                  <a:pt x="89207" y="243279"/>
                  <a:pt x="89965" y="244804"/>
                  <a:pt x="90524" y="246385"/>
                </a:cubicBezTo>
                <a:lnTo>
                  <a:pt x="120167" y="246385"/>
                </a:lnTo>
                <a:cubicBezTo>
                  <a:pt x="161372" y="246385"/>
                  <a:pt x="195121" y="278307"/>
                  <a:pt x="198036" y="318768"/>
                </a:cubicBezTo>
                <a:cubicBezTo>
                  <a:pt x="218225" y="326844"/>
                  <a:pt x="232488" y="346584"/>
                  <a:pt x="232488" y="369658"/>
                </a:cubicBezTo>
                <a:cubicBezTo>
                  <a:pt x="232488" y="399917"/>
                  <a:pt x="207958" y="424446"/>
                  <a:pt x="177700" y="424446"/>
                </a:cubicBezTo>
                <a:cubicBezTo>
                  <a:pt x="147441" y="424446"/>
                  <a:pt x="122912" y="399917"/>
                  <a:pt x="122912" y="369658"/>
                </a:cubicBezTo>
                <a:cubicBezTo>
                  <a:pt x="122912" y="346820"/>
                  <a:pt x="136887" y="327244"/>
                  <a:pt x="156752" y="319017"/>
                </a:cubicBezTo>
                <a:cubicBezTo>
                  <a:pt x="154120" y="301173"/>
                  <a:pt x="138743" y="287476"/>
                  <a:pt x="120167" y="287476"/>
                </a:cubicBezTo>
                <a:lnTo>
                  <a:pt x="48943" y="287476"/>
                </a:lnTo>
                <a:cubicBezTo>
                  <a:pt x="48712" y="287476"/>
                  <a:pt x="48483" y="287473"/>
                  <a:pt x="48254" y="287465"/>
                </a:cubicBezTo>
                <a:cubicBezTo>
                  <a:pt x="44165" y="296998"/>
                  <a:pt x="41091" y="313473"/>
                  <a:pt x="41091" y="341341"/>
                </a:cubicBezTo>
                <a:cubicBezTo>
                  <a:pt x="41091" y="369307"/>
                  <a:pt x="51269" y="384648"/>
                  <a:pt x="61335" y="393285"/>
                </a:cubicBezTo>
                <a:cubicBezTo>
                  <a:pt x="72381" y="402761"/>
                  <a:pt x="84508" y="405215"/>
                  <a:pt x="88022" y="405215"/>
                </a:cubicBezTo>
                <a:cubicBezTo>
                  <a:pt x="99369" y="405215"/>
                  <a:pt x="108567" y="414414"/>
                  <a:pt x="108567" y="425761"/>
                </a:cubicBezTo>
                <a:cubicBezTo>
                  <a:pt x="108567" y="437242"/>
                  <a:pt x="114917" y="458162"/>
                  <a:pt x="129374" y="476251"/>
                </a:cubicBezTo>
                <a:cubicBezTo>
                  <a:pt x="143312" y="493687"/>
                  <a:pt x="163143" y="506521"/>
                  <a:pt x="189236" y="506521"/>
                </a:cubicBezTo>
                <a:cubicBezTo>
                  <a:pt x="206688" y="506521"/>
                  <a:pt x="222763" y="496714"/>
                  <a:pt x="235517" y="483340"/>
                </a:cubicBezTo>
                <a:cubicBezTo>
                  <a:pt x="241730" y="476826"/>
                  <a:pt x="246554" y="470060"/>
                  <a:pt x="249718" y="464570"/>
                </a:cubicBezTo>
                <a:cubicBezTo>
                  <a:pt x="251305" y="461819"/>
                  <a:pt x="252329" y="459639"/>
                  <a:pt x="252893" y="458192"/>
                </a:cubicBezTo>
                <a:lnTo>
                  <a:pt x="253036" y="457820"/>
                </a:lnTo>
                <a:lnTo>
                  <a:pt x="253036" y="390557"/>
                </a:lnTo>
                <a:cubicBezTo>
                  <a:pt x="253033" y="390439"/>
                  <a:pt x="253033" y="390321"/>
                  <a:pt x="253033" y="390203"/>
                </a:cubicBezTo>
                <a:cubicBezTo>
                  <a:pt x="253033" y="390086"/>
                  <a:pt x="253033" y="389968"/>
                  <a:pt x="253036" y="389850"/>
                </a:cubicBezTo>
                <a:lnTo>
                  <a:pt x="253036" y="198445"/>
                </a:lnTo>
                <a:lnTo>
                  <a:pt x="228505" y="198445"/>
                </a:lnTo>
                <a:cubicBezTo>
                  <a:pt x="220377" y="218524"/>
                  <a:pt x="200693" y="232688"/>
                  <a:pt x="177700" y="232688"/>
                </a:cubicBezTo>
                <a:cubicBezTo>
                  <a:pt x="147441" y="232688"/>
                  <a:pt x="122912" y="208159"/>
                  <a:pt x="122912" y="177900"/>
                </a:cubicBezTo>
                <a:cubicBezTo>
                  <a:pt x="122912" y="147642"/>
                  <a:pt x="147441" y="123112"/>
                  <a:pt x="177700" y="123112"/>
                </a:cubicBezTo>
                <a:cubicBezTo>
                  <a:pt x="200693" y="123112"/>
                  <a:pt x="220377" y="137276"/>
                  <a:pt x="228505" y="157354"/>
                </a:cubicBezTo>
                <a:lnTo>
                  <a:pt x="253036" y="157354"/>
                </a:lnTo>
                <a:lnTo>
                  <a:pt x="253036" y="88147"/>
                </a:lnTo>
                <a:lnTo>
                  <a:pt x="253030" y="87836"/>
                </a:lnTo>
                <a:cubicBezTo>
                  <a:pt x="253022" y="87523"/>
                  <a:pt x="253006" y="86993"/>
                  <a:pt x="252967" y="86278"/>
                </a:cubicBezTo>
                <a:cubicBezTo>
                  <a:pt x="252891" y="84841"/>
                  <a:pt x="252732" y="82691"/>
                  <a:pt x="252403" y="80075"/>
                </a:cubicBezTo>
                <a:cubicBezTo>
                  <a:pt x="251737" y="74736"/>
                  <a:pt x="250436" y="67982"/>
                  <a:pt x="248017" y="61522"/>
                </a:cubicBezTo>
                <a:cubicBezTo>
                  <a:pt x="245563" y="54976"/>
                  <a:pt x="242371" y="49825"/>
                  <a:pt x="238575" y="46448"/>
                </a:cubicBezTo>
                <a:cubicBezTo>
                  <a:pt x="235205" y="43449"/>
                  <a:pt x="230570" y="41091"/>
                  <a:pt x="222974" y="41091"/>
                </a:cubicBezTo>
                <a:cubicBezTo>
                  <a:pt x="201987" y="41091"/>
                  <a:pt x="181183" y="48161"/>
                  <a:pt x="166010" y="59973"/>
                </a:cubicBezTo>
                <a:close/>
                <a:moveTo>
                  <a:pt x="294483" y="410749"/>
                </a:moveTo>
                <a:lnTo>
                  <a:pt x="294483" y="457820"/>
                </a:lnTo>
                <a:lnTo>
                  <a:pt x="294623" y="458192"/>
                </a:lnTo>
                <a:cubicBezTo>
                  <a:pt x="295190" y="459639"/>
                  <a:pt x="296214" y="461819"/>
                  <a:pt x="297800" y="464570"/>
                </a:cubicBezTo>
                <a:cubicBezTo>
                  <a:pt x="300962" y="470060"/>
                  <a:pt x="305786" y="476826"/>
                  <a:pt x="311999" y="483340"/>
                </a:cubicBezTo>
                <a:cubicBezTo>
                  <a:pt x="324756" y="496714"/>
                  <a:pt x="340831" y="506521"/>
                  <a:pt x="358281" y="506521"/>
                </a:cubicBezTo>
                <a:cubicBezTo>
                  <a:pt x="384376" y="506521"/>
                  <a:pt x="404207" y="493687"/>
                  <a:pt x="418145" y="476251"/>
                </a:cubicBezTo>
                <a:cubicBezTo>
                  <a:pt x="432600" y="458162"/>
                  <a:pt x="438950" y="437242"/>
                  <a:pt x="438950" y="425761"/>
                </a:cubicBezTo>
                <a:cubicBezTo>
                  <a:pt x="438950" y="414414"/>
                  <a:pt x="448149" y="405215"/>
                  <a:pt x="459496" y="405215"/>
                </a:cubicBezTo>
                <a:cubicBezTo>
                  <a:pt x="463011" y="405215"/>
                  <a:pt x="475138" y="402761"/>
                  <a:pt x="486183" y="393285"/>
                </a:cubicBezTo>
                <a:cubicBezTo>
                  <a:pt x="496248" y="384648"/>
                  <a:pt x="506427" y="369307"/>
                  <a:pt x="506427" y="341341"/>
                </a:cubicBezTo>
                <a:cubicBezTo>
                  <a:pt x="506427" y="308238"/>
                  <a:pt x="502091" y="291213"/>
                  <a:pt x="496867" y="282800"/>
                </a:cubicBezTo>
                <a:cubicBezTo>
                  <a:pt x="494598" y="279148"/>
                  <a:pt x="492254" y="277269"/>
                  <a:pt x="489742" y="276086"/>
                </a:cubicBezTo>
                <a:cubicBezTo>
                  <a:pt x="486961" y="274773"/>
                  <a:pt x="482808" y="273779"/>
                  <a:pt x="476365" y="273779"/>
                </a:cubicBezTo>
                <a:cubicBezTo>
                  <a:pt x="468791" y="273779"/>
                  <a:pt x="461830" y="269610"/>
                  <a:pt x="458252" y="262931"/>
                </a:cubicBezTo>
                <a:cubicBezTo>
                  <a:pt x="454677" y="256252"/>
                  <a:pt x="455066" y="248149"/>
                  <a:pt x="459266" y="241843"/>
                </a:cubicBezTo>
                <a:cubicBezTo>
                  <a:pt x="464972" y="233277"/>
                  <a:pt x="468599" y="220648"/>
                  <a:pt x="469284" y="205401"/>
                </a:cubicBezTo>
                <a:cubicBezTo>
                  <a:pt x="469960" y="190343"/>
                  <a:pt x="467684" y="174245"/>
                  <a:pt x="463128" y="160053"/>
                </a:cubicBezTo>
                <a:cubicBezTo>
                  <a:pt x="458485" y="145583"/>
                  <a:pt x="452036" y="134813"/>
                  <a:pt x="445700" y="128869"/>
                </a:cubicBezTo>
                <a:cubicBezTo>
                  <a:pt x="439986" y="123505"/>
                  <a:pt x="436025" y="123199"/>
                  <a:pt x="432261" y="124455"/>
                </a:cubicBezTo>
                <a:cubicBezTo>
                  <a:pt x="425996" y="126545"/>
                  <a:pt x="419106" y="125496"/>
                  <a:pt x="413748" y="121634"/>
                </a:cubicBezTo>
                <a:cubicBezTo>
                  <a:pt x="408390" y="117773"/>
                  <a:pt x="405212" y="111571"/>
                  <a:pt x="405212" y="104965"/>
                </a:cubicBezTo>
                <a:cubicBezTo>
                  <a:pt x="405212" y="87116"/>
                  <a:pt x="396460" y="71612"/>
                  <a:pt x="381508" y="59973"/>
                </a:cubicBezTo>
                <a:cubicBezTo>
                  <a:pt x="366334" y="48161"/>
                  <a:pt x="345532" y="41091"/>
                  <a:pt x="324545" y="41091"/>
                </a:cubicBezTo>
                <a:cubicBezTo>
                  <a:pt x="316949" y="41091"/>
                  <a:pt x="312314" y="43449"/>
                  <a:pt x="308944" y="46448"/>
                </a:cubicBezTo>
                <a:cubicBezTo>
                  <a:pt x="305147" y="49825"/>
                  <a:pt x="301956" y="54976"/>
                  <a:pt x="299501" y="61522"/>
                </a:cubicBezTo>
                <a:cubicBezTo>
                  <a:pt x="297083" y="67982"/>
                  <a:pt x="295781" y="74736"/>
                  <a:pt x="295116" y="80075"/>
                </a:cubicBezTo>
                <a:cubicBezTo>
                  <a:pt x="294787" y="82691"/>
                  <a:pt x="294628" y="84841"/>
                  <a:pt x="294551" y="86278"/>
                </a:cubicBezTo>
                <a:cubicBezTo>
                  <a:pt x="294513" y="86993"/>
                  <a:pt x="294497" y="87523"/>
                  <a:pt x="294488" y="87836"/>
                </a:cubicBezTo>
                <a:lnTo>
                  <a:pt x="294483" y="88147"/>
                </a:lnTo>
                <a:lnTo>
                  <a:pt x="294483" y="369658"/>
                </a:lnTo>
                <a:lnTo>
                  <a:pt x="311930" y="369658"/>
                </a:lnTo>
                <a:cubicBezTo>
                  <a:pt x="332355" y="369658"/>
                  <a:pt x="348912" y="353101"/>
                  <a:pt x="348912" y="332676"/>
                </a:cubicBezTo>
                <a:lnTo>
                  <a:pt x="348912" y="283493"/>
                </a:lnTo>
                <a:cubicBezTo>
                  <a:pt x="328832" y="275365"/>
                  <a:pt x="314669" y="255680"/>
                  <a:pt x="314669" y="232688"/>
                </a:cubicBezTo>
                <a:cubicBezTo>
                  <a:pt x="314669" y="202430"/>
                  <a:pt x="339198" y="177900"/>
                  <a:pt x="369457" y="177900"/>
                </a:cubicBezTo>
                <a:cubicBezTo>
                  <a:pt x="399717" y="177900"/>
                  <a:pt x="424245" y="202430"/>
                  <a:pt x="424245" y="232688"/>
                </a:cubicBezTo>
                <a:cubicBezTo>
                  <a:pt x="424245" y="255680"/>
                  <a:pt x="410083" y="275365"/>
                  <a:pt x="390003" y="283493"/>
                </a:cubicBezTo>
                <a:lnTo>
                  <a:pt x="390003" y="332676"/>
                </a:lnTo>
                <a:cubicBezTo>
                  <a:pt x="390003" y="375794"/>
                  <a:pt x="355048" y="410749"/>
                  <a:pt x="311930" y="410749"/>
                </a:cubicBezTo>
                <a:lnTo>
                  <a:pt x="294483" y="410749"/>
                </a:lnTo>
                <a:close/>
                <a:moveTo>
                  <a:pt x="177700" y="164203"/>
                </a:moveTo>
                <a:cubicBezTo>
                  <a:pt x="170135" y="164203"/>
                  <a:pt x="164003" y="170336"/>
                  <a:pt x="164003" y="177900"/>
                </a:cubicBezTo>
                <a:cubicBezTo>
                  <a:pt x="164003" y="185465"/>
                  <a:pt x="170135" y="191597"/>
                  <a:pt x="177700" y="191597"/>
                </a:cubicBezTo>
                <a:cubicBezTo>
                  <a:pt x="185264" y="191597"/>
                  <a:pt x="191397" y="185465"/>
                  <a:pt x="191397" y="177900"/>
                </a:cubicBezTo>
                <a:cubicBezTo>
                  <a:pt x="191397" y="170336"/>
                  <a:pt x="185264" y="164203"/>
                  <a:pt x="177700" y="164203"/>
                </a:cubicBezTo>
                <a:close/>
                <a:moveTo>
                  <a:pt x="164003" y="369658"/>
                </a:moveTo>
                <a:cubicBezTo>
                  <a:pt x="164003" y="377221"/>
                  <a:pt x="170135" y="383355"/>
                  <a:pt x="177700" y="383355"/>
                </a:cubicBezTo>
                <a:cubicBezTo>
                  <a:pt x="185264" y="383355"/>
                  <a:pt x="191397" y="377221"/>
                  <a:pt x="191397" y="369658"/>
                </a:cubicBezTo>
                <a:cubicBezTo>
                  <a:pt x="191397" y="362094"/>
                  <a:pt x="185264" y="355961"/>
                  <a:pt x="177700" y="355961"/>
                </a:cubicBezTo>
                <a:cubicBezTo>
                  <a:pt x="170135" y="355961"/>
                  <a:pt x="164003" y="362094"/>
                  <a:pt x="164003" y="369658"/>
                </a:cubicBezTo>
                <a:close/>
                <a:moveTo>
                  <a:pt x="355760" y="232688"/>
                </a:moveTo>
                <a:cubicBezTo>
                  <a:pt x="355760" y="240252"/>
                  <a:pt x="361894" y="246385"/>
                  <a:pt x="369457" y="246385"/>
                </a:cubicBezTo>
                <a:cubicBezTo>
                  <a:pt x="377021" y="246385"/>
                  <a:pt x="383154" y="240252"/>
                  <a:pt x="383154" y="232688"/>
                </a:cubicBezTo>
                <a:cubicBezTo>
                  <a:pt x="383154" y="225125"/>
                  <a:pt x="377021" y="218991"/>
                  <a:pt x="369457" y="218991"/>
                </a:cubicBezTo>
                <a:cubicBezTo>
                  <a:pt x="361894" y="218991"/>
                  <a:pt x="355760" y="225125"/>
                  <a:pt x="355760" y="232688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4" name="Graphic 68" descr="Bug&#10;Keyword: fluent-icon;&#10;Metaphor: code;&#10;&#10;Used to represent bugs in code or malicious bugs in the system.">
            <a:extLst>
              <a:ext uri="{FF2B5EF4-FFF2-40B4-BE49-F238E27FC236}">
                <a16:creationId xmlns:a16="http://schemas.microsoft.com/office/drawing/2014/main" id="{BECCAE5E-2F4D-3701-0102-DFD87F4A60E4}"/>
              </a:ext>
            </a:extLst>
          </p:cNvPr>
          <p:cNvSpPr/>
          <p:nvPr/>
        </p:nvSpPr>
        <p:spPr>
          <a:xfrm>
            <a:off x="8158926" y="3170811"/>
            <a:ext cx="547917" cy="520182"/>
          </a:xfrm>
          <a:custGeom>
            <a:avLst/>
            <a:gdLst>
              <a:gd name="connsiteX0" fmla="*/ 232849 w 547917"/>
              <a:gd name="connsiteY0" fmla="*/ 20545 h 520182"/>
              <a:gd name="connsiteX1" fmla="*/ 212303 w 547917"/>
              <a:gd name="connsiteY1" fmla="*/ 0 h 520182"/>
              <a:gd name="connsiteX2" fmla="*/ 191758 w 547917"/>
              <a:gd name="connsiteY2" fmla="*/ 20545 h 520182"/>
              <a:gd name="connsiteX3" fmla="*/ 191758 w 547917"/>
              <a:gd name="connsiteY3" fmla="*/ 41149 h 520182"/>
              <a:gd name="connsiteX4" fmla="*/ 206273 w 547917"/>
              <a:gd name="connsiteY4" fmla="*/ 87800 h 520182"/>
              <a:gd name="connsiteX5" fmla="*/ 137219 w 547917"/>
              <a:gd name="connsiteY5" fmla="*/ 177759 h 520182"/>
              <a:gd name="connsiteX6" fmla="*/ 130462 w 547917"/>
              <a:gd name="connsiteY6" fmla="*/ 177759 h 520182"/>
              <a:gd name="connsiteX7" fmla="*/ 130208 w 547917"/>
              <a:gd name="connsiteY7" fmla="*/ 177758 h 520182"/>
              <a:gd name="connsiteX8" fmla="*/ 68826 w 547917"/>
              <a:gd name="connsiteY8" fmla="*/ 115867 h 520182"/>
              <a:gd name="connsiteX9" fmla="*/ 68995 w 547917"/>
              <a:gd name="connsiteY9" fmla="*/ 75171 h 520182"/>
              <a:gd name="connsiteX10" fmla="*/ 48534 w 547917"/>
              <a:gd name="connsiteY10" fmla="*/ 54541 h 520182"/>
              <a:gd name="connsiteX11" fmla="*/ 27904 w 547917"/>
              <a:gd name="connsiteY11" fmla="*/ 75001 h 520182"/>
              <a:gd name="connsiteX12" fmla="*/ 27736 w 547917"/>
              <a:gd name="connsiteY12" fmla="*/ 115698 h 520182"/>
              <a:gd name="connsiteX13" fmla="*/ 130038 w 547917"/>
              <a:gd name="connsiteY13" fmla="*/ 218849 h 520182"/>
              <a:gd name="connsiteX14" fmla="*/ 130462 w 547917"/>
              <a:gd name="connsiteY14" fmla="*/ 218850 h 520182"/>
              <a:gd name="connsiteX15" fmla="*/ 136970 w 547917"/>
              <a:gd name="connsiteY15" fmla="*/ 218850 h 520182"/>
              <a:gd name="connsiteX16" fmla="*/ 136970 w 547917"/>
              <a:gd name="connsiteY16" fmla="*/ 260205 h 520182"/>
              <a:gd name="connsiteX17" fmla="*/ 20545 w 547917"/>
              <a:gd name="connsiteY17" fmla="*/ 260205 h 520182"/>
              <a:gd name="connsiteX18" fmla="*/ 0 w 547917"/>
              <a:gd name="connsiteY18" fmla="*/ 280751 h 520182"/>
              <a:gd name="connsiteX19" fmla="*/ 20545 w 547917"/>
              <a:gd name="connsiteY19" fmla="*/ 301296 h 520182"/>
              <a:gd name="connsiteX20" fmla="*/ 136970 w 547917"/>
              <a:gd name="connsiteY20" fmla="*/ 301296 h 520182"/>
              <a:gd name="connsiteX21" fmla="*/ 136970 w 547917"/>
              <a:gd name="connsiteY21" fmla="*/ 355873 h 520182"/>
              <a:gd name="connsiteX22" fmla="*/ 130462 w 547917"/>
              <a:gd name="connsiteY22" fmla="*/ 355873 h 520182"/>
              <a:gd name="connsiteX23" fmla="*/ 130038 w 547917"/>
              <a:gd name="connsiteY23" fmla="*/ 355876 h 520182"/>
              <a:gd name="connsiteX24" fmla="*/ 27736 w 547917"/>
              <a:gd name="connsiteY24" fmla="*/ 459025 h 520182"/>
              <a:gd name="connsiteX25" fmla="*/ 27904 w 547917"/>
              <a:gd name="connsiteY25" fmla="*/ 499722 h 520182"/>
              <a:gd name="connsiteX26" fmla="*/ 48534 w 547917"/>
              <a:gd name="connsiteY26" fmla="*/ 520182 h 520182"/>
              <a:gd name="connsiteX27" fmla="*/ 68995 w 547917"/>
              <a:gd name="connsiteY27" fmla="*/ 499552 h 520182"/>
              <a:gd name="connsiteX28" fmla="*/ 68826 w 547917"/>
              <a:gd name="connsiteY28" fmla="*/ 458855 h 520182"/>
              <a:gd name="connsiteX29" fmla="*/ 130208 w 547917"/>
              <a:gd name="connsiteY29" fmla="*/ 396964 h 520182"/>
              <a:gd name="connsiteX30" fmla="*/ 130462 w 547917"/>
              <a:gd name="connsiteY30" fmla="*/ 396964 h 520182"/>
              <a:gd name="connsiteX31" fmla="*/ 143170 w 547917"/>
              <a:gd name="connsiteY31" fmla="*/ 396964 h 520182"/>
              <a:gd name="connsiteX32" fmla="*/ 273940 w 547917"/>
              <a:gd name="connsiteY32" fmla="*/ 493068 h 520182"/>
              <a:gd name="connsiteX33" fmla="*/ 404710 w 547917"/>
              <a:gd name="connsiteY33" fmla="*/ 396964 h 520182"/>
              <a:gd name="connsiteX34" fmla="*/ 417415 w 547917"/>
              <a:gd name="connsiteY34" fmla="*/ 396964 h 520182"/>
              <a:gd name="connsiteX35" fmla="*/ 417670 w 547917"/>
              <a:gd name="connsiteY35" fmla="*/ 396964 h 520182"/>
              <a:gd name="connsiteX36" fmla="*/ 479052 w 547917"/>
              <a:gd name="connsiteY36" fmla="*/ 458855 h 520182"/>
              <a:gd name="connsiteX37" fmla="*/ 478885 w 547917"/>
              <a:gd name="connsiteY37" fmla="*/ 499552 h 520182"/>
              <a:gd name="connsiteX38" fmla="*/ 499345 w 547917"/>
              <a:gd name="connsiteY38" fmla="*/ 520182 h 520182"/>
              <a:gd name="connsiteX39" fmla="*/ 519976 w 547917"/>
              <a:gd name="connsiteY39" fmla="*/ 499722 h 520182"/>
              <a:gd name="connsiteX40" fmla="*/ 520143 w 547917"/>
              <a:gd name="connsiteY40" fmla="*/ 459025 h 520182"/>
              <a:gd name="connsiteX41" fmla="*/ 417840 w 547917"/>
              <a:gd name="connsiteY41" fmla="*/ 355876 h 520182"/>
              <a:gd name="connsiteX42" fmla="*/ 417415 w 547917"/>
              <a:gd name="connsiteY42" fmla="*/ 355873 h 520182"/>
              <a:gd name="connsiteX43" fmla="*/ 410909 w 547917"/>
              <a:gd name="connsiteY43" fmla="*/ 355873 h 520182"/>
              <a:gd name="connsiteX44" fmla="*/ 410909 w 547917"/>
              <a:gd name="connsiteY44" fmla="*/ 301296 h 520182"/>
              <a:gd name="connsiteX45" fmla="*/ 527372 w 547917"/>
              <a:gd name="connsiteY45" fmla="*/ 301296 h 520182"/>
              <a:gd name="connsiteX46" fmla="*/ 547918 w 547917"/>
              <a:gd name="connsiteY46" fmla="*/ 280751 h 520182"/>
              <a:gd name="connsiteX47" fmla="*/ 527372 w 547917"/>
              <a:gd name="connsiteY47" fmla="*/ 260205 h 520182"/>
              <a:gd name="connsiteX48" fmla="*/ 410909 w 547917"/>
              <a:gd name="connsiteY48" fmla="*/ 260205 h 520182"/>
              <a:gd name="connsiteX49" fmla="*/ 410909 w 547917"/>
              <a:gd name="connsiteY49" fmla="*/ 218850 h 520182"/>
              <a:gd name="connsiteX50" fmla="*/ 417415 w 547917"/>
              <a:gd name="connsiteY50" fmla="*/ 218850 h 520182"/>
              <a:gd name="connsiteX51" fmla="*/ 417840 w 547917"/>
              <a:gd name="connsiteY51" fmla="*/ 218849 h 520182"/>
              <a:gd name="connsiteX52" fmla="*/ 520143 w 547917"/>
              <a:gd name="connsiteY52" fmla="*/ 115698 h 520182"/>
              <a:gd name="connsiteX53" fmla="*/ 519976 w 547917"/>
              <a:gd name="connsiteY53" fmla="*/ 75001 h 520182"/>
              <a:gd name="connsiteX54" fmla="*/ 499345 w 547917"/>
              <a:gd name="connsiteY54" fmla="*/ 54541 h 520182"/>
              <a:gd name="connsiteX55" fmla="*/ 478885 w 547917"/>
              <a:gd name="connsiteY55" fmla="*/ 75171 h 520182"/>
              <a:gd name="connsiteX56" fmla="*/ 479052 w 547917"/>
              <a:gd name="connsiteY56" fmla="*/ 115867 h 520182"/>
              <a:gd name="connsiteX57" fmla="*/ 417670 w 547917"/>
              <a:gd name="connsiteY57" fmla="*/ 177758 h 520182"/>
              <a:gd name="connsiteX58" fmla="*/ 417415 w 547917"/>
              <a:gd name="connsiteY58" fmla="*/ 177759 h 520182"/>
              <a:gd name="connsiteX59" fmla="*/ 410660 w 547917"/>
              <a:gd name="connsiteY59" fmla="*/ 177759 h 520182"/>
              <a:gd name="connsiteX60" fmla="*/ 341605 w 547917"/>
              <a:gd name="connsiteY60" fmla="*/ 87801 h 520182"/>
              <a:gd name="connsiteX61" fmla="*/ 356121 w 547917"/>
              <a:gd name="connsiteY61" fmla="*/ 41149 h 520182"/>
              <a:gd name="connsiteX62" fmla="*/ 356121 w 547917"/>
              <a:gd name="connsiteY62" fmla="*/ 20545 h 520182"/>
              <a:gd name="connsiteX63" fmla="*/ 335576 w 547917"/>
              <a:gd name="connsiteY63" fmla="*/ 0 h 520182"/>
              <a:gd name="connsiteX64" fmla="*/ 315031 w 547917"/>
              <a:gd name="connsiteY64" fmla="*/ 20545 h 520182"/>
              <a:gd name="connsiteX65" fmla="*/ 315031 w 547917"/>
              <a:gd name="connsiteY65" fmla="*/ 41149 h 520182"/>
              <a:gd name="connsiteX66" fmla="*/ 273940 w 547917"/>
              <a:gd name="connsiteY66" fmla="*/ 82240 h 520182"/>
              <a:gd name="connsiteX67" fmla="*/ 232849 w 547917"/>
              <a:gd name="connsiteY67" fmla="*/ 41149 h 520182"/>
              <a:gd name="connsiteX68" fmla="*/ 232849 w 547917"/>
              <a:gd name="connsiteY68" fmla="*/ 20545 h 520182"/>
              <a:gd name="connsiteX69" fmla="*/ 178061 w 547917"/>
              <a:gd name="connsiteY69" fmla="*/ 184968 h 520182"/>
              <a:gd name="connsiteX70" fmla="*/ 239697 w 547917"/>
              <a:gd name="connsiteY70" fmla="*/ 123331 h 520182"/>
              <a:gd name="connsiteX71" fmla="*/ 308182 w 547917"/>
              <a:gd name="connsiteY71" fmla="*/ 123331 h 520182"/>
              <a:gd name="connsiteX72" fmla="*/ 369818 w 547917"/>
              <a:gd name="connsiteY72" fmla="*/ 184968 h 520182"/>
              <a:gd name="connsiteX73" fmla="*/ 369818 w 547917"/>
              <a:gd name="connsiteY73" fmla="*/ 356098 h 520182"/>
              <a:gd name="connsiteX74" fmla="*/ 273940 w 547917"/>
              <a:gd name="connsiteY74" fmla="*/ 451977 h 520182"/>
              <a:gd name="connsiteX75" fmla="*/ 178061 w 547917"/>
              <a:gd name="connsiteY75" fmla="*/ 356098 h 520182"/>
              <a:gd name="connsiteX76" fmla="*/ 178061 w 547917"/>
              <a:gd name="connsiteY76" fmla="*/ 184968 h 520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547917" h="520182">
                <a:moveTo>
                  <a:pt x="232849" y="20545"/>
                </a:moveTo>
                <a:cubicBezTo>
                  <a:pt x="232849" y="9199"/>
                  <a:pt x="223650" y="0"/>
                  <a:pt x="212303" y="0"/>
                </a:cubicBezTo>
                <a:cubicBezTo>
                  <a:pt x="200956" y="0"/>
                  <a:pt x="191758" y="9199"/>
                  <a:pt x="191758" y="20545"/>
                </a:cubicBezTo>
                <a:lnTo>
                  <a:pt x="191758" y="41149"/>
                </a:lnTo>
                <a:cubicBezTo>
                  <a:pt x="191758" y="58475"/>
                  <a:pt x="197119" y="74548"/>
                  <a:pt x="206273" y="87800"/>
                </a:cubicBezTo>
                <a:cubicBezTo>
                  <a:pt x="168118" y="100923"/>
                  <a:pt x="140122" y="135886"/>
                  <a:pt x="137219" y="177759"/>
                </a:cubicBezTo>
                <a:lnTo>
                  <a:pt x="130462" y="177759"/>
                </a:lnTo>
                <a:lnTo>
                  <a:pt x="130208" y="177758"/>
                </a:lnTo>
                <a:cubicBezTo>
                  <a:pt x="96167" y="177617"/>
                  <a:pt x="68686" y="149908"/>
                  <a:pt x="68826" y="115867"/>
                </a:cubicBezTo>
                <a:lnTo>
                  <a:pt x="68995" y="75171"/>
                </a:lnTo>
                <a:cubicBezTo>
                  <a:pt x="69042" y="63824"/>
                  <a:pt x="59881" y="54588"/>
                  <a:pt x="48534" y="54541"/>
                </a:cubicBezTo>
                <a:cubicBezTo>
                  <a:pt x="37188" y="54494"/>
                  <a:pt x="27951" y="63654"/>
                  <a:pt x="27904" y="75001"/>
                </a:cubicBezTo>
                <a:lnTo>
                  <a:pt x="27736" y="115698"/>
                </a:lnTo>
                <a:cubicBezTo>
                  <a:pt x="27501" y="172432"/>
                  <a:pt x="73303" y="218614"/>
                  <a:pt x="130038" y="218849"/>
                </a:cubicBezTo>
                <a:lnTo>
                  <a:pt x="130462" y="218850"/>
                </a:lnTo>
                <a:lnTo>
                  <a:pt x="136970" y="218850"/>
                </a:lnTo>
                <a:lnTo>
                  <a:pt x="136970" y="260205"/>
                </a:lnTo>
                <a:lnTo>
                  <a:pt x="20545" y="260205"/>
                </a:lnTo>
                <a:cubicBezTo>
                  <a:pt x="9199" y="260205"/>
                  <a:pt x="0" y="269404"/>
                  <a:pt x="0" y="280751"/>
                </a:cubicBezTo>
                <a:cubicBezTo>
                  <a:pt x="0" y="292097"/>
                  <a:pt x="9199" y="301296"/>
                  <a:pt x="20545" y="301296"/>
                </a:cubicBezTo>
                <a:lnTo>
                  <a:pt x="136970" y="301296"/>
                </a:lnTo>
                <a:lnTo>
                  <a:pt x="136970" y="355873"/>
                </a:lnTo>
                <a:lnTo>
                  <a:pt x="130462" y="355873"/>
                </a:lnTo>
                <a:lnTo>
                  <a:pt x="130038" y="355876"/>
                </a:lnTo>
                <a:cubicBezTo>
                  <a:pt x="73303" y="356109"/>
                  <a:pt x="27501" y="402292"/>
                  <a:pt x="27736" y="459025"/>
                </a:cubicBezTo>
                <a:lnTo>
                  <a:pt x="27904" y="499722"/>
                </a:lnTo>
                <a:cubicBezTo>
                  <a:pt x="27951" y="511068"/>
                  <a:pt x="37188" y="520229"/>
                  <a:pt x="48534" y="520182"/>
                </a:cubicBezTo>
                <a:cubicBezTo>
                  <a:pt x="59881" y="520136"/>
                  <a:pt x="69042" y="510898"/>
                  <a:pt x="68995" y="499552"/>
                </a:cubicBezTo>
                <a:lnTo>
                  <a:pt x="68826" y="458855"/>
                </a:lnTo>
                <a:cubicBezTo>
                  <a:pt x="68686" y="424816"/>
                  <a:pt x="96167" y="397107"/>
                  <a:pt x="130208" y="396964"/>
                </a:cubicBezTo>
                <a:lnTo>
                  <a:pt x="130462" y="396964"/>
                </a:lnTo>
                <a:lnTo>
                  <a:pt x="143170" y="396964"/>
                </a:lnTo>
                <a:cubicBezTo>
                  <a:pt x="160554" y="452651"/>
                  <a:pt x="212527" y="493068"/>
                  <a:pt x="273940" y="493068"/>
                </a:cubicBezTo>
                <a:cubicBezTo>
                  <a:pt x="335351" y="493068"/>
                  <a:pt x="387326" y="452651"/>
                  <a:pt x="404710" y="396964"/>
                </a:cubicBezTo>
                <a:lnTo>
                  <a:pt x="417415" y="396964"/>
                </a:lnTo>
                <a:lnTo>
                  <a:pt x="417670" y="396964"/>
                </a:lnTo>
                <a:cubicBezTo>
                  <a:pt x="451713" y="397107"/>
                  <a:pt x="479194" y="424816"/>
                  <a:pt x="479052" y="458855"/>
                </a:cubicBezTo>
                <a:lnTo>
                  <a:pt x="478885" y="499552"/>
                </a:lnTo>
                <a:cubicBezTo>
                  <a:pt x="478838" y="510898"/>
                  <a:pt x="487999" y="520136"/>
                  <a:pt x="499345" y="520182"/>
                </a:cubicBezTo>
                <a:cubicBezTo>
                  <a:pt x="510692" y="520229"/>
                  <a:pt x="519929" y="511068"/>
                  <a:pt x="519976" y="499722"/>
                </a:cubicBezTo>
                <a:lnTo>
                  <a:pt x="520143" y="459025"/>
                </a:lnTo>
                <a:cubicBezTo>
                  <a:pt x="520378" y="402292"/>
                  <a:pt x="474576" y="356109"/>
                  <a:pt x="417840" y="355876"/>
                </a:cubicBezTo>
                <a:lnTo>
                  <a:pt x="417415" y="355873"/>
                </a:lnTo>
                <a:lnTo>
                  <a:pt x="410909" y="355873"/>
                </a:lnTo>
                <a:lnTo>
                  <a:pt x="410909" y="301296"/>
                </a:lnTo>
                <a:lnTo>
                  <a:pt x="527372" y="301296"/>
                </a:lnTo>
                <a:cubicBezTo>
                  <a:pt x="538719" y="301296"/>
                  <a:pt x="547918" y="292097"/>
                  <a:pt x="547918" y="280751"/>
                </a:cubicBezTo>
                <a:cubicBezTo>
                  <a:pt x="547918" y="269404"/>
                  <a:pt x="538719" y="260205"/>
                  <a:pt x="527372" y="260205"/>
                </a:cubicBezTo>
                <a:lnTo>
                  <a:pt x="410909" y="260205"/>
                </a:lnTo>
                <a:lnTo>
                  <a:pt x="410909" y="218850"/>
                </a:lnTo>
                <a:lnTo>
                  <a:pt x="417415" y="218850"/>
                </a:lnTo>
                <a:lnTo>
                  <a:pt x="417840" y="218849"/>
                </a:lnTo>
                <a:cubicBezTo>
                  <a:pt x="474576" y="218614"/>
                  <a:pt x="520378" y="172432"/>
                  <a:pt x="520143" y="115698"/>
                </a:cubicBezTo>
                <a:lnTo>
                  <a:pt x="519976" y="75001"/>
                </a:lnTo>
                <a:cubicBezTo>
                  <a:pt x="519929" y="63654"/>
                  <a:pt x="510692" y="54494"/>
                  <a:pt x="499345" y="54541"/>
                </a:cubicBezTo>
                <a:cubicBezTo>
                  <a:pt x="487999" y="54588"/>
                  <a:pt x="478838" y="63824"/>
                  <a:pt x="478885" y="75171"/>
                </a:cubicBezTo>
                <a:lnTo>
                  <a:pt x="479052" y="115867"/>
                </a:lnTo>
                <a:cubicBezTo>
                  <a:pt x="479194" y="149908"/>
                  <a:pt x="451713" y="177617"/>
                  <a:pt x="417670" y="177758"/>
                </a:cubicBezTo>
                <a:lnTo>
                  <a:pt x="417415" y="177759"/>
                </a:lnTo>
                <a:lnTo>
                  <a:pt x="410660" y="177759"/>
                </a:lnTo>
                <a:cubicBezTo>
                  <a:pt x="407756" y="135886"/>
                  <a:pt x="379762" y="100923"/>
                  <a:pt x="341605" y="87801"/>
                </a:cubicBezTo>
                <a:cubicBezTo>
                  <a:pt x="350760" y="74548"/>
                  <a:pt x="356121" y="58475"/>
                  <a:pt x="356121" y="41149"/>
                </a:cubicBezTo>
                <a:lnTo>
                  <a:pt x="356121" y="20545"/>
                </a:lnTo>
                <a:cubicBezTo>
                  <a:pt x="356121" y="9199"/>
                  <a:pt x="346923" y="0"/>
                  <a:pt x="335576" y="0"/>
                </a:cubicBezTo>
                <a:cubicBezTo>
                  <a:pt x="324229" y="0"/>
                  <a:pt x="315031" y="9199"/>
                  <a:pt x="315031" y="20545"/>
                </a:cubicBezTo>
                <a:lnTo>
                  <a:pt x="315031" y="41149"/>
                </a:lnTo>
                <a:cubicBezTo>
                  <a:pt x="315031" y="63843"/>
                  <a:pt x="296633" y="82240"/>
                  <a:pt x="273940" y="82240"/>
                </a:cubicBezTo>
                <a:cubicBezTo>
                  <a:pt x="251246" y="82240"/>
                  <a:pt x="232849" y="63843"/>
                  <a:pt x="232849" y="41149"/>
                </a:cubicBezTo>
                <a:lnTo>
                  <a:pt x="232849" y="20545"/>
                </a:lnTo>
                <a:close/>
                <a:moveTo>
                  <a:pt x="178061" y="184968"/>
                </a:moveTo>
                <a:cubicBezTo>
                  <a:pt x="178061" y="150927"/>
                  <a:pt x="205656" y="123331"/>
                  <a:pt x="239697" y="123331"/>
                </a:cubicBezTo>
                <a:lnTo>
                  <a:pt x="308182" y="123331"/>
                </a:lnTo>
                <a:cubicBezTo>
                  <a:pt x="342222" y="123331"/>
                  <a:pt x="369818" y="150927"/>
                  <a:pt x="369818" y="184968"/>
                </a:cubicBezTo>
                <a:lnTo>
                  <a:pt x="369818" y="356098"/>
                </a:lnTo>
                <a:cubicBezTo>
                  <a:pt x="369818" y="409050"/>
                  <a:pt x="326892" y="451977"/>
                  <a:pt x="273940" y="451977"/>
                </a:cubicBezTo>
                <a:cubicBezTo>
                  <a:pt x="220987" y="451977"/>
                  <a:pt x="178061" y="409050"/>
                  <a:pt x="178061" y="356098"/>
                </a:cubicBezTo>
                <a:lnTo>
                  <a:pt x="178061" y="184968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5" name="Graphic 70" descr="Building&#10;Keyword: fluent-icon;&#10;Metaphor: structure, construction, architecture, skyscraper;&#10;&#10;Used for location scenarios.">
            <a:extLst>
              <a:ext uri="{FF2B5EF4-FFF2-40B4-BE49-F238E27FC236}">
                <a16:creationId xmlns:a16="http://schemas.microsoft.com/office/drawing/2014/main" id="{6EC94C77-254E-8C6A-A2B6-F676326E8551}"/>
              </a:ext>
            </a:extLst>
          </p:cNvPr>
          <p:cNvSpPr/>
          <p:nvPr/>
        </p:nvSpPr>
        <p:spPr>
          <a:xfrm>
            <a:off x="9141456" y="3170771"/>
            <a:ext cx="438380" cy="534182"/>
          </a:xfrm>
          <a:custGeom>
            <a:avLst/>
            <a:gdLst>
              <a:gd name="connsiteX0" fmla="*/ 123273 w 438380"/>
              <a:gd name="connsiteY0" fmla="*/ 95879 h 534182"/>
              <a:gd name="connsiteX1" fmla="*/ 95879 w 438380"/>
              <a:gd name="connsiteY1" fmla="*/ 123273 h 534182"/>
              <a:gd name="connsiteX2" fmla="*/ 123273 w 438380"/>
              <a:gd name="connsiteY2" fmla="*/ 150667 h 534182"/>
              <a:gd name="connsiteX3" fmla="*/ 150667 w 438380"/>
              <a:gd name="connsiteY3" fmla="*/ 123273 h 534182"/>
              <a:gd name="connsiteX4" fmla="*/ 123273 w 438380"/>
              <a:gd name="connsiteY4" fmla="*/ 95879 h 534182"/>
              <a:gd name="connsiteX5" fmla="*/ 95879 w 438380"/>
              <a:gd name="connsiteY5" fmla="*/ 315031 h 534182"/>
              <a:gd name="connsiteX6" fmla="*/ 123273 w 438380"/>
              <a:gd name="connsiteY6" fmla="*/ 287637 h 534182"/>
              <a:gd name="connsiteX7" fmla="*/ 150667 w 438380"/>
              <a:gd name="connsiteY7" fmla="*/ 315031 h 534182"/>
              <a:gd name="connsiteX8" fmla="*/ 123273 w 438380"/>
              <a:gd name="connsiteY8" fmla="*/ 342424 h 534182"/>
              <a:gd name="connsiteX9" fmla="*/ 95879 w 438380"/>
              <a:gd name="connsiteY9" fmla="*/ 315031 h 534182"/>
              <a:gd name="connsiteX10" fmla="*/ 123273 w 438380"/>
              <a:gd name="connsiteY10" fmla="*/ 191758 h 534182"/>
              <a:gd name="connsiteX11" fmla="*/ 95879 w 438380"/>
              <a:gd name="connsiteY11" fmla="*/ 219152 h 534182"/>
              <a:gd name="connsiteX12" fmla="*/ 123273 w 438380"/>
              <a:gd name="connsiteY12" fmla="*/ 246546 h 534182"/>
              <a:gd name="connsiteX13" fmla="*/ 150667 w 438380"/>
              <a:gd name="connsiteY13" fmla="*/ 219152 h 534182"/>
              <a:gd name="connsiteX14" fmla="*/ 123273 w 438380"/>
              <a:gd name="connsiteY14" fmla="*/ 191758 h 534182"/>
              <a:gd name="connsiteX15" fmla="*/ 191758 w 438380"/>
              <a:gd name="connsiteY15" fmla="*/ 123273 h 534182"/>
              <a:gd name="connsiteX16" fmla="*/ 219152 w 438380"/>
              <a:gd name="connsiteY16" fmla="*/ 95879 h 534182"/>
              <a:gd name="connsiteX17" fmla="*/ 246546 w 438380"/>
              <a:gd name="connsiteY17" fmla="*/ 123273 h 534182"/>
              <a:gd name="connsiteX18" fmla="*/ 219152 w 438380"/>
              <a:gd name="connsiteY18" fmla="*/ 150667 h 534182"/>
              <a:gd name="connsiteX19" fmla="*/ 191758 w 438380"/>
              <a:gd name="connsiteY19" fmla="*/ 123273 h 534182"/>
              <a:gd name="connsiteX20" fmla="*/ 219152 w 438380"/>
              <a:gd name="connsiteY20" fmla="*/ 287637 h 534182"/>
              <a:gd name="connsiteX21" fmla="*/ 191758 w 438380"/>
              <a:gd name="connsiteY21" fmla="*/ 315031 h 534182"/>
              <a:gd name="connsiteX22" fmla="*/ 219152 w 438380"/>
              <a:gd name="connsiteY22" fmla="*/ 342424 h 534182"/>
              <a:gd name="connsiteX23" fmla="*/ 246546 w 438380"/>
              <a:gd name="connsiteY23" fmla="*/ 315031 h 534182"/>
              <a:gd name="connsiteX24" fmla="*/ 219152 w 438380"/>
              <a:gd name="connsiteY24" fmla="*/ 287637 h 534182"/>
              <a:gd name="connsiteX25" fmla="*/ 287637 w 438380"/>
              <a:gd name="connsiteY25" fmla="*/ 315031 h 534182"/>
              <a:gd name="connsiteX26" fmla="*/ 315031 w 438380"/>
              <a:gd name="connsiteY26" fmla="*/ 287637 h 534182"/>
              <a:gd name="connsiteX27" fmla="*/ 342424 w 438380"/>
              <a:gd name="connsiteY27" fmla="*/ 315031 h 534182"/>
              <a:gd name="connsiteX28" fmla="*/ 315031 w 438380"/>
              <a:gd name="connsiteY28" fmla="*/ 342424 h 534182"/>
              <a:gd name="connsiteX29" fmla="*/ 287637 w 438380"/>
              <a:gd name="connsiteY29" fmla="*/ 315031 h 534182"/>
              <a:gd name="connsiteX30" fmla="*/ 219152 w 438380"/>
              <a:gd name="connsiteY30" fmla="*/ 191758 h 534182"/>
              <a:gd name="connsiteX31" fmla="*/ 191758 w 438380"/>
              <a:gd name="connsiteY31" fmla="*/ 219152 h 534182"/>
              <a:gd name="connsiteX32" fmla="*/ 219152 w 438380"/>
              <a:gd name="connsiteY32" fmla="*/ 246546 h 534182"/>
              <a:gd name="connsiteX33" fmla="*/ 246546 w 438380"/>
              <a:gd name="connsiteY33" fmla="*/ 219152 h 534182"/>
              <a:gd name="connsiteX34" fmla="*/ 219152 w 438380"/>
              <a:gd name="connsiteY34" fmla="*/ 191758 h 534182"/>
              <a:gd name="connsiteX35" fmla="*/ 61636 w 438380"/>
              <a:gd name="connsiteY35" fmla="*/ 0 h 534182"/>
              <a:gd name="connsiteX36" fmla="*/ 0 w 438380"/>
              <a:gd name="connsiteY36" fmla="*/ 61636 h 534182"/>
              <a:gd name="connsiteX37" fmla="*/ 0 w 438380"/>
              <a:gd name="connsiteY37" fmla="*/ 513637 h 534182"/>
              <a:gd name="connsiteX38" fmla="*/ 20545 w 438380"/>
              <a:gd name="connsiteY38" fmla="*/ 534182 h 534182"/>
              <a:gd name="connsiteX39" fmla="*/ 417835 w 438380"/>
              <a:gd name="connsiteY39" fmla="*/ 534182 h 534182"/>
              <a:gd name="connsiteX40" fmla="*/ 438380 w 438380"/>
              <a:gd name="connsiteY40" fmla="*/ 513637 h 534182"/>
              <a:gd name="connsiteX41" fmla="*/ 438380 w 438380"/>
              <a:gd name="connsiteY41" fmla="*/ 267072 h 534182"/>
              <a:gd name="connsiteX42" fmla="*/ 376744 w 438380"/>
              <a:gd name="connsiteY42" fmla="*/ 205436 h 534182"/>
              <a:gd name="connsiteX43" fmla="*/ 342424 w 438380"/>
              <a:gd name="connsiteY43" fmla="*/ 205436 h 534182"/>
              <a:gd name="connsiteX44" fmla="*/ 342424 w 438380"/>
              <a:gd name="connsiteY44" fmla="*/ 61636 h 534182"/>
              <a:gd name="connsiteX45" fmla="*/ 280788 w 438380"/>
              <a:gd name="connsiteY45" fmla="*/ 0 h 534182"/>
              <a:gd name="connsiteX46" fmla="*/ 61636 w 438380"/>
              <a:gd name="connsiteY46" fmla="*/ 0 h 534182"/>
              <a:gd name="connsiteX47" fmla="*/ 41091 w 438380"/>
              <a:gd name="connsiteY47" fmla="*/ 61636 h 534182"/>
              <a:gd name="connsiteX48" fmla="*/ 61636 w 438380"/>
              <a:gd name="connsiteY48" fmla="*/ 41091 h 534182"/>
              <a:gd name="connsiteX49" fmla="*/ 280788 w 438380"/>
              <a:gd name="connsiteY49" fmla="*/ 41091 h 534182"/>
              <a:gd name="connsiteX50" fmla="*/ 301334 w 438380"/>
              <a:gd name="connsiteY50" fmla="*/ 61636 h 534182"/>
              <a:gd name="connsiteX51" fmla="*/ 301334 w 438380"/>
              <a:gd name="connsiteY51" fmla="*/ 225981 h 534182"/>
              <a:gd name="connsiteX52" fmla="*/ 321879 w 438380"/>
              <a:gd name="connsiteY52" fmla="*/ 246526 h 534182"/>
              <a:gd name="connsiteX53" fmla="*/ 376744 w 438380"/>
              <a:gd name="connsiteY53" fmla="*/ 246526 h 534182"/>
              <a:gd name="connsiteX54" fmla="*/ 397289 w 438380"/>
              <a:gd name="connsiteY54" fmla="*/ 267072 h 534182"/>
              <a:gd name="connsiteX55" fmla="*/ 397289 w 438380"/>
              <a:gd name="connsiteY55" fmla="*/ 493091 h 534182"/>
              <a:gd name="connsiteX56" fmla="*/ 342424 w 438380"/>
              <a:gd name="connsiteY56" fmla="*/ 493091 h 534182"/>
              <a:gd name="connsiteX57" fmla="*/ 342424 w 438380"/>
              <a:gd name="connsiteY57" fmla="*/ 417758 h 534182"/>
              <a:gd name="connsiteX58" fmla="*/ 321879 w 438380"/>
              <a:gd name="connsiteY58" fmla="*/ 397212 h 534182"/>
              <a:gd name="connsiteX59" fmla="*/ 116424 w 438380"/>
              <a:gd name="connsiteY59" fmla="*/ 397212 h 534182"/>
              <a:gd name="connsiteX60" fmla="*/ 95879 w 438380"/>
              <a:gd name="connsiteY60" fmla="*/ 417758 h 534182"/>
              <a:gd name="connsiteX61" fmla="*/ 95879 w 438380"/>
              <a:gd name="connsiteY61" fmla="*/ 493091 h 534182"/>
              <a:gd name="connsiteX62" fmla="*/ 41091 w 438380"/>
              <a:gd name="connsiteY62" fmla="*/ 493091 h 534182"/>
              <a:gd name="connsiteX63" fmla="*/ 41091 w 438380"/>
              <a:gd name="connsiteY63" fmla="*/ 61636 h 534182"/>
              <a:gd name="connsiteX64" fmla="*/ 301334 w 438380"/>
              <a:gd name="connsiteY64" fmla="*/ 438303 h 534182"/>
              <a:gd name="connsiteX65" fmla="*/ 301334 w 438380"/>
              <a:gd name="connsiteY65" fmla="*/ 493091 h 534182"/>
              <a:gd name="connsiteX66" fmla="*/ 239697 w 438380"/>
              <a:gd name="connsiteY66" fmla="*/ 493091 h 534182"/>
              <a:gd name="connsiteX67" fmla="*/ 239697 w 438380"/>
              <a:gd name="connsiteY67" fmla="*/ 438303 h 534182"/>
              <a:gd name="connsiteX68" fmla="*/ 301334 w 438380"/>
              <a:gd name="connsiteY68" fmla="*/ 438303 h 534182"/>
              <a:gd name="connsiteX69" fmla="*/ 198606 w 438380"/>
              <a:gd name="connsiteY69" fmla="*/ 438303 h 534182"/>
              <a:gd name="connsiteX70" fmla="*/ 198606 w 438380"/>
              <a:gd name="connsiteY70" fmla="*/ 493091 h 534182"/>
              <a:gd name="connsiteX71" fmla="*/ 136970 w 438380"/>
              <a:gd name="connsiteY71" fmla="*/ 493091 h 534182"/>
              <a:gd name="connsiteX72" fmla="*/ 136970 w 438380"/>
              <a:gd name="connsiteY72" fmla="*/ 438303 h 534182"/>
              <a:gd name="connsiteX73" fmla="*/ 198606 w 438380"/>
              <a:gd name="connsiteY73" fmla="*/ 438303 h 534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</a:cxnLst>
            <a:rect l="l" t="t" r="r" b="b"/>
            <a:pathLst>
              <a:path w="438380" h="534182">
                <a:moveTo>
                  <a:pt x="123273" y="95879"/>
                </a:moveTo>
                <a:cubicBezTo>
                  <a:pt x="108144" y="95879"/>
                  <a:pt x="95879" y="108144"/>
                  <a:pt x="95879" y="123273"/>
                </a:cubicBezTo>
                <a:cubicBezTo>
                  <a:pt x="95879" y="138402"/>
                  <a:pt x="108144" y="150667"/>
                  <a:pt x="123273" y="150667"/>
                </a:cubicBezTo>
                <a:cubicBezTo>
                  <a:pt x="138402" y="150667"/>
                  <a:pt x="150667" y="138402"/>
                  <a:pt x="150667" y="123273"/>
                </a:cubicBezTo>
                <a:cubicBezTo>
                  <a:pt x="150667" y="108144"/>
                  <a:pt x="138402" y="95879"/>
                  <a:pt x="123273" y="95879"/>
                </a:cubicBezTo>
                <a:close/>
                <a:moveTo>
                  <a:pt x="95879" y="315031"/>
                </a:moveTo>
                <a:cubicBezTo>
                  <a:pt x="95879" y="299901"/>
                  <a:pt x="108144" y="287637"/>
                  <a:pt x="123273" y="287637"/>
                </a:cubicBezTo>
                <a:cubicBezTo>
                  <a:pt x="138402" y="287637"/>
                  <a:pt x="150667" y="299901"/>
                  <a:pt x="150667" y="315031"/>
                </a:cubicBezTo>
                <a:cubicBezTo>
                  <a:pt x="150667" y="330160"/>
                  <a:pt x="138402" y="342424"/>
                  <a:pt x="123273" y="342424"/>
                </a:cubicBezTo>
                <a:cubicBezTo>
                  <a:pt x="108144" y="342424"/>
                  <a:pt x="95879" y="330160"/>
                  <a:pt x="95879" y="315031"/>
                </a:cubicBezTo>
                <a:close/>
                <a:moveTo>
                  <a:pt x="123273" y="191758"/>
                </a:moveTo>
                <a:cubicBezTo>
                  <a:pt x="108144" y="191758"/>
                  <a:pt x="95879" y="204022"/>
                  <a:pt x="95879" y="219152"/>
                </a:cubicBezTo>
                <a:cubicBezTo>
                  <a:pt x="95879" y="234281"/>
                  <a:pt x="108144" y="246546"/>
                  <a:pt x="123273" y="246546"/>
                </a:cubicBezTo>
                <a:cubicBezTo>
                  <a:pt x="138402" y="246546"/>
                  <a:pt x="150667" y="234281"/>
                  <a:pt x="150667" y="219152"/>
                </a:cubicBezTo>
                <a:cubicBezTo>
                  <a:pt x="150667" y="204022"/>
                  <a:pt x="138402" y="191758"/>
                  <a:pt x="123273" y="191758"/>
                </a:cubicBezTo>
                <a:close/>
                <a:moveTo>
                  <a:pt x="191758" y="123273"/>
                </a:moveTo>
                <a:cubicBezTo>
                  <a:pt x="191758" y="108144"/>
                  <a:pt x="204022" y="95879"/>
                  <a:pt x="219152" y="95879"/>
                </a:cubicBezTo>
                <a:cubicBezTo>
                  <a:pt x="234281" y="95879"/>
                  <a:pt x="246546" y="108144"/>
                  <a:pt x="246546" y="123273"/>
                </a:cubicBezTo>
                <a:cubicBezTo>
                  <a:pt x="246546" y="138402"/>
                  <a:pt x="234281" y="150667"/>
                  <a:pt x="219152" y="150667"/>
                </a:cubicBezTo>
                <a:cubicBezTo>
                  <a:pt x="204022" y="150667"/>
                  <a:pt x="191758" y="138402"/>
                  <a:pt x="191758" y="123273"/>
                </a:cubicBezTo>
                <a:close/>
                <a:moveTo>
                  <a:pt x="219152" y="287637"/>
                </a:moveTo>
                <a:cubicBezTo>
                  <a:pt x="204022" y="287637"/>
                  <a:pt x="191758" y="299901"/>
                  <a:pt x="191758" y="315031"/>
                </a:cubicBezTo>
                <a:cubicBezTo>
                  <a:pt x="191758" y="330160"/>
                  <a:pt x="204022" y="342424"/>
                  <a:pt x="219152" y="342424"/>
                </a:cubicBezTo>
                <a:cubicBezTo>
                  <a:pt x="234281" y="342424"/>
                  <a:pt x="246546" y="330160"/>
                  <a:pt x="246546" y="315031"/>
                </a:cubicBezTo>
                <a:cubicBezTo>
                  <a:pt x="246546" y="299901"/>
                  <a:pt x="234281" y="287637"/>
                  <a:pt x="219152" y="287637"/>
                </a:cubicBezTo>
                <a:close/>
                <a:moveTo>
                  <a:pt x="287637" y="315031"/>
                </a:moveTo>
                <a:cubicBezTo>
                  <a:pt x="287637" y="299901"/>
                  <a:pt x="299901" y="287637"/>
                  <a:pt x="315031" y="287637"/>
                </a:cubicBezTo>
                <a:cubicBezTo>
                  <a:pt x="330160" y="287637"/>
                  <a:pt x="342424" y="299901"/>
                  <a:pt x="342424" y="315031"/>
                </a:cubicBezTo>
                <a:cubicBezTo>
                  <a:pt x="342424" y="330160"/>
                  <a:pt x="330160" y="342424"/>
                  <a:pt x="315031" y="342424"/>
                </a:cubicBezTo>
                <a:cubicBezTo>
                  <a:pt x="299901" y="342424"/>
                  <a:pt x="287637" y="330160"/>
                  <a:pt x="287637" y="315031"/>
                </a:cubicBezTo>
                <a:close/>
                <a:moveTo>
                  <a:pt x="219152" y="191758"/>
                </a:moveTo>
                <a:cubicBezTo>
                  <a:pt x="204022" y="191758"/>
                  <a:pt x="191758" y="204022"/>
                  <a:pt x="191758" y="219152"/>
                </a:cubicBezTo>
                <a:cubicBezTo>
                  <a:pt x="191758" y="234281"/>
                  <a:pt x="204022" y="246546"/>
                  <a:pt x="219152" y="246546"/>
                </a:cubicBezTo>
                <a:cubicBezTo>
                  <a:pt x="234281" y="246546"/>
                  <a:pt x="246546" y="234281"/>
                  <a:pt x="246546" y="219152"/>
                </a:cubicBezTo>
                <a:cubicBezTo>
                  <a:pt x="246546" y="204022"/>
                  <a:pt x="234281" y="191758"/>
                  <a:pt x="219152" y="191758"/>
                </a:cubicBezTo>
                <a:close/>
                <a:moveTo>
                  <a:pt x="61636" y="0"/>
                </a:moveTo>
                <a:cubicBezTo>
                  <a:pt x="27596" y="0"/>
                  <a:pt x="0" y="27596"/>
                  <a:pt x="0" y="61636"/>
                </a:cubicBezTo>
                <a:lnTo>
                  <a:pt x="0" y="513637"/>
                </a:lnTo>
                <a:cubicBezTo>
                  <a:pt x="0" y="524983"/>
                  <a:pt x="9199" y="534182"/>
                  <a:pt x="20545" y="534182"/>
                </a:cubicBezTo>
                <a:lnTo>
                  <a:pt x="417835" y="534182"/>
                </a:lnTo>
                <a:cubicBezTo>
                  <a:pt x="429181" y="534182"/>
                  <a:pt x="438380" y="524983"/>
                  <a:pt x="438380" y="513637"/>
                </a:cubicBezTo>
                <a:lnTo>
                  <a:pt x="438380" y="267072"/>
                </a:lnTo>
                <a:cubicBezTo>
                  <a:pt x="438380" y="233032"/>
                  <a:pt x="410783" y="205436"/>
                  <a:pt x="376744" y="205436"/>
                </a:cubicBezTo>
                <a:lnTo>
                  <a:pt x="342424" y="205436"/>
                </a:lnTo>
                <a:lnTo>
                  <a:pt x="342424" y="61636"/>
                </a:lnTo>
                <a:cubicBezTo>
                  <a:pt x="342424" y="27596"/>
                  <a:pt x="314828" y="0"/>
                  <a:pt x="280788" y="0"/>
                </a:cubicBezTo>
                <a:lnTo>
                  <a:pt x="61636" y="0"/>
                </a:lnTo>
                <a:close/>
                <a:moveTo>
                  <a:pt x="41091" y="61636"/>
                </a:moveTo>
                <a:cubicBezTo>
                  <a:pt x="41091" y="50290"/>
                  <a:pt x="50290" y="41091"/>
                  <a:pt x="61636" y="41091"/>
                </a:cubicBezTo>
                <a:lnTo>
                  <a:pt x="280788" y="41091"/>
                </a:lnTo>
                <a:cubicBezTo>
                  <a:pt x="292135" y="41091"/>
                  <a:pt x="301334" y="50290"/>
                  <a:pt x="301334" y="61636"/>
                </a:cubicBezTo>
                <a:lnTo>
                  <a:pt x="301334" y="225981"/>
                </a:lnTo>
                <a:cubicBezTo>
                  <a:pt x="301334" y="237328"/>
                  <a:pt x="310532" y="246526"/>
                  <a:pt x="321879" y="246526"/>
                </a:cubicBezTo>
                <a:lnTo>
                  <a:pt x="376744" y="246526"/>
                </a:lnTo>
                <a:cubicBezTo>
                  <a:pt x="388090" y="246526"/>
                  <a:pt x="397289" y="255725"/>
                  <a:pt x="397289" y="267072"/>
                </a:cubicBezTo>
                <a:lnTo>
                  <a:pt x="397289" y="493091"/>
                </a:lnTo>
                <a:lnTo>
                  <a:pt x="342424" y="493091"/>
                </a:lnTo>
                <a:lnTo>
                  <a:pt x="342424" y="417758"/>
                </a:lnTo>
                <a:cubicBezTo>
                  <a:pt x="342424" y="406411"/>
                  <a:pt x="333226" y="397212"/>
                  <a:pt x="321879" y="397212"/>
                </a:cubicBezTo>
                <a:lnTo>
                  <a:pt x="116424" y="397212"/>
                </a:lnTo>
                <a:cubicBezTo>
                  <a:pt x="105077" y="397212"/>
                  <a:pt x="95879" y="406411"/>
                  <a:pt x="95879" y="417758"/>
                </a:cubicBezTo>
                <a:lnTo>
                  <a:pt x="95879" y="493091"/>
                </a:lnTo>
                <a:lnTo>
                  <a:pt x="41091" y="493091"/>
                </a:lnTo>
                <a:lnTo>
                  <a:pt x="41091" y="61636"/>
                </a:lnTo>
                <a:close/>
                <a:moveTo>
                  <a:pt x="301334" y="438303"/>
                </a:moveTo>
                <a:lnTo>
                  <a:pt x="301334" y="493091"/>
                </a:lnTo>
                <a:lnTo>
                  <a:pt x="239697" y="493091"/>
                </a:lnTo>
                <a:lnTo>
                  <a:pt x="239697" y="438303"/>
                </a:lnTo>
                <a:lnTo>
                  <a:pt x="301334" y="438303"/>
                </a:lnTo>
                <a:close/>
                <a:moveTo>
                  <a:pt x="198606" y="438303"/>
                </a:moveTo>
                <a:lnTo>
                  <a:pt x="198606" y="493091"/>
                </a:lnTo>
                <a:lnTo>
                  <a:pt x="136970" y="493091"/>
                </a:lnTo>
                <a:lnTo>
                  <a:pt x="136970" y="438303"/>
                </a:lnTo>
                <a:lnTo>
                  <a:pt x="198606" y="438303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6" name="Graphic 72" descr="Calculator&#10;Keyword: fluent-icon;&#10;Metaphor: math, formulas, add, subtract, multiply, divde;&#10;&#10;Used for calculation and math scenarios.">
            <a:extLst>
              <a:ext uri="{FF2B5EF4-FFF2-40B4-BE49-F238E27FC236}">
                <a16:creationId xmlns:a16="http://schemas.microsoft.com/office/drawing/2014/main" id="{F4FDBBEC-0388-3DF6-7161-22552BACDEEC}"/>
              </a:ext>
            </a:extLst>
          </p:cNvPr>
          <p:cNvSpPr/>
          <p:nvPr/>
        </p:nvSpPr>
        <p:spPr>
          <a:xfrm>
            <a:off x="10073530" y="3170771"/>
            <a:ext cx="438303" cy="547879"/>
          </a:xfrm>
          <a:custGeom>
            <a:avLst/>
            <a:gdLst>
              <a:gd name="connsiteX0" fmla="*/ 82182 w 438303"/>
              <a:gd name="connsiteY0" fmla="*/ 136970 h 547879"/>
              <a:gd name="connsiteX1" fmla="*/ 136970 w 438303"/>
              <a:gd name="connsiteY1" fmla="*/ 82182 h 547879"/>
              <a:gd name="connsiteX2" fmla="*/ 301334 w 438303"/>
              <a:gd name="connsiteY2" fmla="*/ 82182 h 547879"/>
              <a:gd name="connsiteX3" fmla="*/ 356121 w 438303"/>
              <a:gd name="connsiteY3" fmla="*/ 136970 h 547879"/>
              <a:gd name="connsiteX4" fmla="*/ 356121 w 438303"/>
              <a:gd name="connsiteY4" fmla="*/ 164364 h 547879"/>
              <a:gd name="connsiteX5" fmla="*/ 301334 w 438303"/>
              <a:gd name="connsiteY5" fmla="*/ 219152 h 547879"/>
              <a:gd name="connsiteX6" fmla="*/ 136970 w 438303"/>
              <a:gd name="connsiteY6" fmla="*/ 219152 h 547879"/>
              <a:gd name="connsiteX7" fmla="*/ 82182 w 438303"/>
              <a:gd name="connsiteY7" fmla="*/ 164364 h 547879"/>
              <a:gd name="connsiteX8" fmla="*/ 82182 w 438303"/>
              <a:gd name="connsiteY8" fmla="*/ 136970 h 547879"/>
              <a:gd name="connsiteX9" fmla="*/ 136970 w 438303"/>
              <a:gd name="connsiteY9" fmla="*/ 123273 h 547879"/>
              <a:gd name="connsiteX10" fmla="*/ 123273 w 438303"/>
              <a:gd name="connsiteY10" fmla="*/ 136970 h 547879"/>
              <a:gd name="connsiteX11" fmla="*/ 123273 w 438303"/>
              <a:gd name="connsiteY11" fmla="*/ 164364 h 547879"/>
              <a:gd name="connsiteX12" fmla="*/ 136970 w 438303"/>
              <a:gd name="connsiteY12" fmla="*/ 178061 h 547879"/>
              <a:gd name="connsiteX13" fmla="*/ 301334 w 438303"/>
              <a:gd name="connsiteY13" fmla="*/ 178061 h 547879"/>
              <a:gd name="connsiteX14" fmla="*/ 315031 w 438303"/>
              <a:gd name="connsiteY14" fmla="*/ 164364 h 547879"/>
              <a:gd name="connsiteX15" fmla="*/ 315031 w 438303"/>
              <a:gd name="connsiteY15" fmla="*/ 136970 h 547879"/>
              <a:gd name="connsiteX16" fmla="*/ 301334 w 438303"/>
              <a:gd name="connsiteY16" fmla="*/ 123273 h 547879"/>
              <a:gd name="connsiteX17" fmla="*/ 136970 w 438303"/>
              <a:gd name="connsiteY17" fmla="*/ 123273 h 547879"/>
              <a:gd name="connsiteX18" fmla="*/ 116424 w 438303"/>
              <a:gd name="connsiteY18" fmla="*/ 342424 h 547879"/>
              <a:gd name="connsiteX19" fmla="*/ 150667 w 438303"/>
              <a:gd name="connsiteY19" fmla="*/ 308182 h 547879"/>
              <a:gd name="connsiteX20" fmla="*/ 116424 w 438303"/>
              <a:gd name="connsiteY20" fmla="*/ 273940 h 547879"/>
              <a:gd name="connsiteX21" fmla="*/ 82182 w 438303"/>
              <a:gd name="connsiteY21" fmla="*/ 308182 h 547879"/>
              <a:gd name="connsiteX22" fmla="*/ 116424 w 438303"/>
              <a:gd name="connsiteY22" fmla="*/ 342424 h 547879"/>
              <a:gd name="connsiteX23" fmla="*/ 150667 w 438303"/>
              <a:gd name="connsiteY23" fmla="*/ 417758 h 547879"/>
              <a:gd name="connsiteX24" fmla="*/ 116424 w 438303"/>
              <a:gd name="connsiteY24" fmla="*/ 452000 h 547879"/>
              <a:gd name="connsiteX25" fmla="*/ 82182 w 438303"/>
              <a:gd name="connsiteY25" fmla="*/ 417758 h 547879"/>
              <a:gd name="connsiteX26" fmla="*/ 116424 w 438303"/>
              <a:gd name="connsiteY26" fmla="*/ 383515 h 547879"/>
              <a:gd name="connsiteX27" fmla="*/ 150667 w 438303"/>
              <a:gd name="connsiteY27" fmla="*/ 417758 h 547879"/>
              <a:gd name="connsiteX28" fmla="*/ 321879 w 438303"/>
              <a:gd name="connsiteY28" fmla="*/ 342424 h 547879"/>
              <a:gd name="connsiteX29" fmla="*/ 356121 w 438303"/>
              <a:gd name="connsiteY29" fmla="*/ 308182 h 547879"/>
              <a:gd name="connsiteX30" fmla="*/ 321879 w 438303"/>
              <a:gd name="connsiteY30" fmla="*/ 273940 h 547879"/>
              <a:gd name="connsiteX31" fmla="*/ 287637 w 438303"/>
              <a:gd name="connsiteY31" fmla="*/ 308182 h 547879"/>
              <a:gd name="connsiteX32" fmla="*/ 321879 w 438303"/>
              <a:gd name="connsiteY32" fmla="*/ 342424 h 547879"/>
              <a:gd name="connsiteX33" fmla="*/ 356121 w 438303"/>
              <a:gd name="connsiteY33" fmla="*/ 417758 h 547879"/>
              <a:gd name="connsiteX34" fmla="*/ 321879 w 438303"/>
              <a:gd name="connsiteY34" fmla="*/ 452000 h 547879"/>
              <a:gd name="connsiteX35" fmla="*/ 287637 w 438303"/>
              <a:gd name="connsiteY35" fmla="*/ 417758 h 547879"/>
              <a:gd name="connsiteX36" fmla="*/ 321879 w 438303"/>
              <a:gd name="connsiteY36" fmla="*/ 383515 h 547879"/>
              <a:gd name="connsiteX37" fmla="*/ 356121 w 438303"/>
              <a:gd name="connsiteY37" fmla="*/ 417758 h 547879"/>
              <a:gd name="connsiteX38" fmla="*/ 219152 w 438303"/>
              <a:gd name="connsiteY38" fmla="*/ 342424 h 547879"/>
              <a:gd name="connsiteX39" fmla="*/ 253394 w 438303"/>
              <a:gd name="connsiteY39" fmla="*/ 308182 h 547879"/>
              <a:gd name="connsiteX40" fmla="*/ 219152 w 438303"/>
              <a:gd name="connsiteY40" fmla="*/ 273940 h 547879"/>
              <a:gd name="connsiteX41" fmla="*/ 184909 w 438303"/>
              <a:gd name="connsiteY41" fmla="*/ 308182 h 547879"/>
              <a:gd name="connsiteX42" fmla="*/ 219152 w 438303"/>
              <a:gd name="connsiteY42" fmla="*/ 342424 h 547879"/>
              <a:gd name="connsiteX43" fmla="*/ 253394 w 438303"/>
              <a:gd name="connsiteY43" fmla="*/ 417758 h 547879"/>
              <a:gd name="connsiteX44" fmla="*/ 219152 w 438303"/>
              <a:gd name="connsiteY44" fmla="*/ 452000 h 547879"/>
              <a:gd name="connsiteX45" fmla="*/ 184909 w 438303"/>
              <a:gd name="connsiteY45" fmla="*/ 417758 h 547879"/>
              <a:gd name="connsiteX46" fmla="*/ 219152 w 438303"/>
              <a:gd name="connsiteY46" fmla="*/ 383515 h 547879"/>
              <a:gd name="connsiteX47" fmla="*/ 253394 w 438303"/>
              <a:gd name="connsiteY47" fmla="*/ 417758 h 547879"/>
              <a:gd name="connsiteX48" fmla="*/ 89030 w 438303"/>
              <a:gd name="connsiteY48" fmla="*/ 0 h 547879"/>
              <a:gd name="connsiteX49" fmla="*/ 0 w 438303"/>
              <a:gd name="connsiteY49" fmla="*/ 89030 h 547879"/>
              <a:gd name="connsiteX50" fmla="*/ 0 w 438303"/>
              <a:gd name="connsiteY50" fmla="*/ 458849 h 547879"/>
              <a:gd name="connsiteX51" fmla="*/ 89030 w 438303"/>
              <a:gd name="connsiteY51" fmla="*/ 547879 h 547879"/>
              <a:gd name="connsiteX52" fmla="*/ 349273 w 438303"/>
              <a:gd name="connsiteY52" fmla="*/ 547879 h 547879"/>
              <a:gd name="connsiteX53" fmla="*/ 438303 w 438303"/>
              <a:gd name="connsiteY53" fmla="*/ 458849 h 547879"/>
              <a:gd name="connsiteX54" fmla="*/ 438303 w 438303"/>
              <a:gd name="connsiteY54" fmla="*/ 89030 h 547879"/>
              <a:gd name="connsiteX55" fmla="*/ 349273 w 438303"/>
              <a:gd name="connsiteY55" fmla="*/ 0 h 547879"/>
              <a:gd name="connsiteX56" fmla="*/ 89030 w 438303"/>
              <a:gd name="connsiteY56" fmla="*/ 0 h 547879"/>
              <a:gd name="connsiteX57" fmla="*/ 41091 w 438303"/>
              <a:gd name="connsiteY57" fmla="*/ 89030 h 547879"/>
              <a:gd name="connsiteX58" fmla="*/ 89030 w 438303"/>
              <a:gd name="connsiteY58" fmla="*/ 41091 h 547879"/>
              <a:gd name="connsiteX59" fmla="*/ 349273 w 438303"/>
              <a:gd name="connsiteY59" fmla="*/ 41091 h 547879"/>
              <a:gd name="connsiteX60" fmla="*/ 397212 w 438303"/>
              <a:gd name="connsiteY60" fmla="*/ 89030 h 547879"/>
              <a:gd name="connsiteX61" fmla="*/ 397212 w 438303"/>
              <a:gd name="connsiteY61" fmla="*/ 458849 h 547879"/>
              <a:gd name="connsiteX62" fmla="*/ 349273 w 438303"/>
              <a:gd name="connsiteY62" fmla="*/ 506788 h 547879"/>
              <a:gd name="connsiteX63" fmla="*/ 89030 w 438303"/>
              <a:gd name="connsiteY63" fmla="*/ 506788 h 547879"/>
              <a:gd name="connsiteX64" fmla="*/ 41091 w 438303"/>
              <a:gd name="connsiteY64" fmla="*/ 458849 h 547879"/>
              <a:gd name="connsiteX65" fmla="*/ 41091 w 438303"/>
              <a:gd name="connsiteY65" fmla="*/ 89030 h 547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438303" h="547879">
                <a:moveTo>
                  <a:pt x="82182" y="136970"/>
                </a:moveTo>
                <a:cubicBezTo>
                  <a:pt x="82182" y="106711"/>
                  <a:pt x="106711" y="82182"/>
                  <a:pt x="136970" y="82182"/>
                </a:cubicBezTo>
                <a:lnTo>
                  <a:pt x="301334" y="82182"/>
                </a:lnTo>
                <a:cubicBezTo>
                  <a:pt x="331593" y="82182"/>
                  <a:pt x="356121" y="106711"/>
                  <a:pt x="356121" y="136970"/>
                </a:cubicBezTo>
                <a:lnTo>
                  <a:pt x="356121" y="164364"/>
                </a:lnTo>
                <a:cubicBezTo>
                  <a:pt x="356121" y="194622"/>
                  <a:pt x="331593" y="219152"/>
                  <a:pt x="301334" y="219152"/>
                </a:cubicBezTo>
                <a:lnTo>
                  <a:pt x="136970" y="219152"/>
                </a:lnTo>
                <a:cubicBezTo>
                  <a:pt x="106711" y="219152"/>
                  <a:pt x="82182" y="194622"/>
                  <a:pt x="82182" y="164364"/>
                </a:cubicBezTo>
                <a:lnTo>
                  <a:pt x="82182" y="136970"/>
                </a:lnTo>
                <a:close/>
                <a:moveTo>
                  <a:pt x="136970" y="123273"/>
                </a:moveTo>
                <a:cubicBezTo>
                  <a:pt x="129405" y="123273"/>
                  <a:pt x="123273" y="129405"/>
                  <a:pt x="123273" y="136970"/>
                </a:cubicBezTo>
                <a:lnTo>
                  <a:pt x="123273" y="164364"/>
                </a:lnTo>
                <a:cubicBezTo>
                  <a:pt x="123273" y="171928"/>
                  <a:pt x="129405" y="178061"/>
                  <a:pt x="136970" y="178061"/>
                </a:cubicBezTo>
                <a:lnTo>
                  <a:pt x="301334" y="178061"/>
                </a:lnTo>
                <a:cubicBezTo>
                  <a:pt x="308897" y="178061"/>
                  <a:pt x="315031" y="171928"/>
                  <a:pt x="315031" y="164364"/>
                </a:cubicBezTo>
                <a:lnTo>
                  <a:pt x="315031" y="136970"/>
                </a:lnTo>
                <a:cubicBezTo>
                  <a:pt x="315031" y="129405"/>
                  <a:pt x="308897" y="123273"/>
                  <a:pt x="301334" y="123273"/>
                </a:cubicBezTo>
                <a:lnTo>
                  <a:pt x="136970" y="123273"/>
                </a:lnTo>
                <a:close/>
                <a:moveTo>
                  <a:pt x="116424" y="342424"/>
                </a:moveTo>
                <a:cubicBezTo>
                  <a:pt x="135336" y="342424"/>
                  <a:pt x="150667" y="327095"/>
                  <a:pt x="150667" y="308182"/>
                </a:cubicBezTo>
                <a:cubicBezTo>
                  <a:pt x="150667" y="289269"/>
                  <a:pt x="135336" y="273940"/>
                  <a:pt x="116424" y="273940"/>
                </a:cubicBezTo>
                <a:cubicBezTo>
                  <a:pt x="97513" y="273940"/>
                  <a:pt x="82182" y="289269"/>
                  <a:pt x="82182" y="308182"/>
                </a:cubicBezTo>
                <a:cubicBezTo>
                  <a:pt x="82182" y="327095"/>
                  <a:pt x="97513" y="342424"/>
                  <a:pt x="116424" y="342424"/>
                </a:cubicBezTo>
                <a:close/>
                <a:moveTo>
                  <a:pt x="150667" y="417758"/>
                </a:moveTo>
                <a:cubicBezTo>
                  <a:pt x="150667" y="436671"/>
                  <a:pt x="135336" y="452000"/>
                  <a:pt x="116424" y="452000"/>
                </a:cubicBezTo>
                <a:cubicBezTo>
                  <a:pt x="97513" y="452000"/>
                  <a:pt x="82182" y="436671"/>
                  <a:pt x="82182" y="417758"/>
                </a:cubicBezTo>
                <a:cubicBezTo>
                  <a:pt x="82182" y="398845"/>
                  <a:pt x="97513" y="383515"/>
                  <a:pt x="116424" y="383515"/>
                </a:cubicBezTo>
                <a:cubicBezTo>
                  <a:pt x="135336" y="383515"/>
                  <a:pt x="150667" y="398845"/>
                  <a:pt x="150667" y="417758"/>
                </a:cubicBezTo>
                <a:close/>
                <a:moveTo>
                  <a:pt x="321879" y="342424"/>
                </a:moveTo>
                <a:cubicBezTo>
                  <a:pt x="340792" y="342424"/>
                  <a:pt x="356121" y="327095"/>
                  <a:pt x="356121" y="308182"/>
                </a:cubicBezTo>
                <a:cubicBezTo>
                  <a:pt x="356121" y="289269"/>
                  <a:pt x="340792" y="273940"/>
                  <a:pt x="321879" y="273940"/>
                </a:cubicBezTo>
                <a:cubicBezTo>
                  <a:pt x="302966" y="273940"/>
                  <a:pt x="287637" y="289269"/>
                  <a:pt x="287637" y="308182"/>
                </a:cubicBezTo>
                <a:cubicBezTo>
                  <a:pt x="287637" y="327095"/>
                  <a:pt x="302966" y="342424"/>
                  <a:pt x="321879" y="342424"/>
                </a:cubicBezTo>
                <a:close/>
                <a:moveTo>
                  <a:pt x="356121" y="417758"/>
                </a:moveTo>
                <a:cubicBezTo>
                  <a:pt x="356121" y="436671"/>
                  <a:pt x="340792" y="452000"/>
                  <a:pt x="321879" y="452000"/>
                </a:cubicBezTo>
                <a:cubicBezTo>
                  <a:pt x="302966" y="452000"/>
                  <a:pt x="287637" y="436671"/>
                  <a:pt x="287637" y="417758"/>
                </a:cubicBezTo>
                <a:cubicBezTo>
                  <a:pt x="287637" y="398845"/>
                  <a:pt x="302966" y="383515"/>
                  <a:pt x="321879" y="383515"/>
                </a:cubicBezTo>
                <a:cubicBezTo>
                  <a:pt x="340792" y="383515"/>
                  <a:pt x="356121" y="398845"/>
                  <a:pt x="356121" y="417758"/>
                </a:cubicBezTo>
                <a:close/>
                <a:moveTo>
                  <a:pt x="219152" y="342424"/>
                </a:moveTo>
                <a:cubicBezTo>
                  <a:pt x="238064" y="342424"/>
                  <a:pt x="253394" y="327095"/>
                  <a:pt x="253394" y="308182"/>
                </a:cubicBezTo>
                <a:cubicBezTo>
                  <a:pt x="253394" y="289269"/>
                  <a:pt x="238064" y="273940"/>
                  <a:pt x="219152" y="273940"/>
                </a:cubicBezTo>
                <a:cubicBezTo>
                  <a:pt x="200239" y="273940"/>
                  <a:pt x="184909" y="289269"/>
                  <a:pt x="184909" y="308182"/>
                </a:cubicBezTo>
                <a:cubicBezTo>
                  <a:pt x="184909" y="327095"/>
                  <a:pt x="200239" y="342424"/>
                  <a:pt x="219152" y="342424"/>
                </a:cubicBezTo>
                <a:close/>
                <a:moveTo>
                  <a:pt x="253394" y="417758"/>
                </a:moveTo>
                <a:cubicBezTo>
                  <a:pt x="253394" y="436671"/>
                  <a:pt x="238064" y="452000"/>
                  <a:pt x="219152" y="452000"/>
                </a:cubicBezTo>
                <a:cubicBezTo>
                  <a:pt x="200239" y="452000"/>
                  <a:pt x="184909" y="436671"/>
                  <a:pt x="184909" y="417758"/>
                </a:cubicBezTo>
                <a:cubicBezTo>
                  <a:pt x="184909" y="398845"/>
                  <a:pt x="200239" y="383515"/>
                  <a:pt x="219152" y="383515"/>
                </a:cubicBezTo>
                <a:cubicBezTo>
                  <a:pt x="238064" y="383515"/>
                  <a:pt x="253394" y="398845"/>
                  <a:pt x="253394" y="417758"/>
                </a:cubicBezTo>
                <a:close/>
                <a:moveTo>
                  <a:pt x="89030" y="0"/>
                </a:moveTo>
                <a:cubicBezTo>
                  <a:pt x="39860" y="0"/>
                  <a:pt x="0" y="39860"/>
                  <a:pt x="0" y="89030"/>
                </a:cubicBezTo>
                <a:lnTo>
                  <a:pt x="0" y="458849"/>
                </a:lnTo>
                <a:cubicBezTo>
                  <a:pt x="0" y="508018"/>
                  <a:pt x="39860" y="547879"/>
                  <a:pt x="89030" y="547879"/>
                </a:cubicBezTo>
                <a:lnTo>
                  <a:pt x="349273" y="547879"/>
                </a:lnTo>
                <a:cubicBezTo>
                  <a:pt x="398442" y="547879"/>
                  <a:pt x="438303" y="508018"/>
                  <a:pt x="438303" y="458849"/>
                </a:cubicBezTo>
                <a:lnTo>
                  <a:pt x="438303" y="89030"/>
                </a:lnTo>
                <a:cubicBezTo>
                  <a:pt x="438303" y="39860"/>
                  <a:pt x="398442" y="0"/>
                  <a:pt x="349273" y="0"/>
                </a:cubicBezTo>
                <a:lnTo>
                  <a:pt x="89030" y="0"/>
                </a:lnTo>
                <a:close/>
                <a:moveTo>
                  <a:pt x="41091" y="89030"/>
                </a:moveTo>
                <a:cubicBezTo>
                  <a:pt x="41091" y="62554"/>
                  <a:pt x="62554" y="41091"/>
                  <a:pt x="89030" y="41091"/>
                </a:cubicBezTo>
                <a:lnTo>
                  <a:pt x="349273" y="41091"/>
                </a:lnTo>
                <a:cubicBezTo>
                  <a:pt x="375749" y="41091"/>
                  <a:pt x="397212" y="62554"/>
                  <a:pt x="397212" y="89030"/>
                </a:cubicBezTo>
                <a:lnTo>
                  <a:pt x="397212" y="458849"/>
                </a:lnTo>
                <a:cubicBezTo>
                  <a:pt x="397212" y="485325"/>
                  <a:pt x="375749" y="506788"/>
                  <a:pt x="349273" y="506788"/>
                </a:cubicBezTo>
                <a:lnTo>
                  <a:pt x="89030" y="506788"/>
                </a:lnTo>
                <a:cubicBezTo>
                  <a:pt x="62554" y="506788"/>
                  <a:pt x="41091" y="485325"/>
                  <a:pt x="41091" y="458849"/>
                </a:cubicBezTo>
                <a:lnTo>
                  <a:pt x="41091" y="8903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7" name="Graphic 74" descr="Clipboard Checkmark&#10;Keyword: fluent-icon;&#10;Metaphor: copy, memory, analog;&#10;&#10;Used in copy &amp; task scenarios.">
            <a:extLst>
              <a:ext uri="{FF2B5EF4-FFF2-40B4-BE49-F238E27FC236}">
                <a16:creationId xmlns:a16="http://schemas.microsoft.com/office/drawing/2014/main" id="{C3F100DD-0C8B-DCAB-A21B-7D8283A7CBAB}"/>
              </a:ext>
            </a:extLst>
          </p:cNvPr>
          <p:cNvSpPr/>
          <p:nvPr/>
        </p:nvSpPr>
        <p:spPr>
          <a:xfrm>
            <a:off x="11013041" y="3170771"/>
            <a:ext cx="520485" cy="575273"/>
          </a:xfrm>
          <a:custGeom>
            <a:avLst/>
            <a:gdLst>
              <a:gd name="connsiteX0" fmla="*/ 267091 w 520485"/>
              <a:gd name="connsiteY0" fmla="*/ 0 h 575273"/>
              <a:gd name="connsiteX1" fmla="*/ 328358 w 520485"/>
              <a:gd name="connsiteY1" fmla="*/ 54845 h 575273"/>
              <a:gd name="connsiteX2" fmla="*/ 328349 w 520485"/>
              <a:gd name="connsiteY2" fmla="*/ 54773 h 575273"/>
              <a:gd name="connsiteX3" fmla="*/ 376667 w 520485"/>
              <a:gd name="connsiteY3" fmla="*/ 54788 h 575273"/>
              <a:gd name="connsiteX4" fmla="*/ 438303 w 520485"/>
              <a:gd name="connsiteY4" fmla="*/ 116424 h 575273"/>
              <a:gd name="connsiteX5" fmla="*/ 438303 w 520485"/>
              <a:gd name="connsiteY5" fmla="*/ 260193 h 575273"/>
              <a:gd name="connsiteX6" fmla="*/ 397212 w 520485"/>
              <a:gd name="connsiteY6" fmla="*/ 248639 h 575273"/>
              <a:gd name="connsiteX7" fmla="*/ 397212 w 520485"/>
              <a:gd name="connsiteY7" fmla="*/ 116424 h 575273"/>
              <a:gd name="connsiteX8" fmla="*/ 376667 w 520485"/>
              <a:gd name="connsiteY8" fmla="*/ 95879 h 575273"/>
              <a:gd name="connsiteX9" fmla="*/ 318345 w 520485"/>
              <a:gd name="connsiteY9" fmla="*/ 95884 h 575273"/>
              <a:gd name="connsiteX10" fmla="*/ 267091 w 520485"/>
              <a:gd name="connsiteY10" fmla="*/ 123273 h 575273"/>
              <a:gd name="connsiteX11" fmla="*/ 171212 w 520485"/>
              <a:gd name="connsiteY11" fmla="*/ 123273 h 575273"/>
              <a:gd name="connsiteX12" fmla="*/ 119958 w 520485"/>
              <a:gd name="connsiteY12" fmla="*/ 95883 h 575273"/>
              <a:gd name="connsiteX13" fmla="*/ 61636 w 520485"/>
              <a:gd name="connsiteY13" fmla="*/ 95879 h 575273"/>
              <a:gd name="connsiteX14" fmla="*/ 41091 w 520485"/>
              <a:gd name="connsiteY14" fmla="*/ 116424 h 575273"/>
              <a:gd name="connsiteX15" fmla="*/ 41091 w 520485"/>
              <a:gd name="connsiteY15" fmla="*/ 486243 h 575273"/>
              <a:gd name="connsiteX16" fmla="*/ 61636 w 520485"/>
              <a:gd name="connsiteY16" fmla="*/ 506788 h 575273"/>
              <a:gd name="connsiteX17" fmla="*/ 211816 w 520485"/>
              <a:gd name="connsiteY17" fmla="*/ 506788 h 575273"/>
              <a:gd name="connsiteX18" fmla="*/ 241330 w 520485"/>
              <a:gd name="connsiteY18" fmla="*/ 547879 h 575273"/>
              <a:gd name="connsiteX19" fmla="*/ 61636 w 520485"/>
              <a:gd name="connsiteY19" fmla="*/ 547879 h 575273"/>
              <a:gd name="connsiteX20" fmla="*/ 0 w 520485"/>
              <a:gd name="connsiteY20" fmla="*/ 486243 h 575273"/>
              <a:gd name="connsiteX21" fmla="*/ 0 w 520485"/>
              <a:gd name="connsiteY21" fmla="*/ 116424 h 575273"/>
              <a:gd name="connsiteX22" fmla="*/ 61636 w 520485"/>
              <a:gd name="connsiteY22" fmla="*/ 54788 h 575273"/>
              <a:gd name="connsiteX23" fmla="*/ 109954 w 520485"/>
              <a:gd name="connsiteY23" fmla="*/ 54773 h 575273"/>
              <a:gd name="connsiteX24" fmla="*/ 171212 w 520485"/>
              <a:gd name="connsiteY24" fmla="*/ 0 h 575273"/>
              <a:gd name="connsiteX25" fmla="*/ 267091 w 520485"/>
              <a:gd name="connsiteY25" fmla="*/ 0 h 575273"/>
              <a:gd name="connsiteX26" fmla="*/ 328585 w 520485"/>
              <a:gd name="connsiteY26" fmla="*/ 57416 h 575273"/>
              <a:gd name="connsiteX27" fmla="*/ 328728 w 520485"/>
              <a:gd name="connsiteY27" fmla="*/ 61636 h 575273"/>
              <a:gd name="connsiteX28" fmla="*/ 328585 w 520485"/>
              <a:gd name="connsiteY28" fmla="*/ 57416 h 575273"/>
              <a:gd name="connsiteX29" fmla="*/ 267091 w 520485"/>
              <a:gd name="connsiteY29" fmla="*/ 41091 h 575273"/>
              <a:gd name="connsiteX30" fmla="*/ 171212 w 520485"/>
              <a:gd name="connsiteY30" fmla="*/ 41091 h 575273"/>
              <a:gd name="connsiteX31" fmla="*/ 150667 w 520485"/>
              <a:gd name="connsiteY31" fmla="*/ 61636 h 575273"/>
              <a:gd name="connsiteX32" fmla="*/ 171212 w 520485"/>
              <a:gd name="connsiteY32" fmla="*/ 82182 h 575273"/>
              <a:gd name="connsiteX33" fmla="*/ 267091 w 520485"/>
              <a:gd name="connsiteY33" fmla="*/ 82182 h 575273"/>
              <a:gd name="connsiteX34" fmla="*/ 287637 w 520485"/>
              <a:gd name="connsiteY34" fmla="*/ 61636 h 575273"/>
              <a:gd name="connsiteX35" fmla="*/ 267091 w 520485"/>
              <a:gd name="connsiteY35" fmla="*/ 41091 h 575273"/>
              <a:gd name="connsiteX36" fmla="*/ 520485 w 520485"/>
              <a:gd name="connsiteY36" fmla="*/ 424606 h 575273"/>
              <a:gd name="connsiteX37" fmla="*/ 369818 w 520485"/>
              <a:gd name="connsiteY37" fmla="*/ 575273 h 575273"/>
              <a:gd name="connsiteX38" fmla="*/ 219152 w 520485"/>
              <a:gd name="connsiteY38" fmla="*/ 424606 h 575273"/>
              <a:gd name="connsiteX39" fmla="*/ 369818 w 520485"/>
              <a:gd name="connsiteY39" fmla="*/ 273940 h 575273"/>
              <a:gd name="connsiteX40" fmla="*/ 520485 w 520485"/>
              <a:gd name="connsiteY40" fmla="*/ 424606 h 575273"/>
              <a:gd name="connsiteX41" fmla="*/ 461687 w 520485"/>
              <a:gd name="connsiteY41" fmla="*/ 360132 h 575273"/>
              <a:gd name="connsiteX42" fmla="*/ 442314 w 520485"/>
              <a:gd name="connsiteY42" fmla="*/ 360132 h 575273"/>
              <a:gd name="connsiteX43" fmla="*/ 342424 w 520485"/>
              <a:gd name="connsiteY43" fmla="*/ 460024 h 575273"/>
              <a:gd name="connsiteX44" fmla="*/ 297323 w 520485"/>
              <a:gd name="connsiteY44" fmla="*/ 414920 h 575273"/>
              <a:gd name="connsiteX45" fmla="*/ 277950 w 520485"/>
              <a:gd name="connsiteY45" fmla="*/ 414920 h 575273"/>
              <a:gd name="connsiteX46" fmla="*/ 277950 w 520485"/>
              <a:gd name="connsiteY46" fmla="*/ 434293 h 575273"/>
              <a:gd name="connsiteX47" fmla="*/ 332738 w 520485"/>
              <a:gd name="connsiteY47" fmla="*/ 489081 h 575273"/>
              <a:gd name="connsiteX48" fmla="*/ 352111 w 520485"/>
              <a:gd name="connsiteY48" fmla="*/ 489081 h 575273"/>
              <a:gd name="connsiteX49" fmla="*/ 461687 w 520485"/>
              <a:gd name="connsiteY49" fmla="*/ 379505 h 575273"/>
              <a:gd name="connsiteX50" fmla="*/ 461687 w 520485"/>
              <a:gd name="connsiteY50" fmla="*/ 360132 h 575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520485" h="575273">
                <a:moveTo>
                  <a:pt x="267091" y="0"/>
                </a:moveTo>
                <a:cubicBezTo>
                  <a:pt x="298838" y="0"/>
                  <a:pt x="324977" y="24000"/>
                  <a:pt x="328358" y="54845"/>
                </a:cubicBezTo>
                <a:cubicBezTo>
                  <a:pt x="328355" y="54821"/>
                  <a:pt x="328352" y="54797"/>
                  <a:pt x="328349" y="54773"/>
                </a:cubicBezTo>
                <a:lnTo>
                  <a:pt x="376667" y="54788"/>
                </a:lnTo>
                <a:cubicBezTo>
                  <a:pt x="410707" y="54788"/>
                  <a:pt x="438303" y="82383"/>
                  <a:pt x="438303" y="116424"/>
                </a:cubicBezTo>
                <a:lnTo>
                  <a:pt x="438303" y="260193"/>
                </a:lnTo>
                <a:cubicBezTo>
                  <a:pt x="425313" y="254775"/>
                  <a:pt x="411545" y="250852"/>
                  <a:pt x="397212" y="248639"/>
                </a:cubicBezTo>
                <a:lnTo>
                  <a:pt x="397212" y="116424"/>
                </a:lnTo>
                <a:cubicBezTo>
                  <a:pt x="397212" y="105077"/>
                  <a:pt x="388014" y="95879"/>
                  <a:pt x="376667" y="95879"/>
                </a:cubicBezTo>
                <a:lnTo>
                  <a:pt x="318345" y="95884"/>
                </a:lnTo>
                <a:cubicBezTo>
                  <a:pt x="307286" y="112400"/>
                  <a:pt x="288458" y="123273"/>
                  <a:pt x="267091" y="123273"/>
                </a:cubicBezTo>
                <a:lnTo>
                  <a:pt x="171212" y="123273"/>
                </a:lnTo>
                <a:cubicBezTo>
                  <a:pt x="149844" y="123273"/>
                  <a:pt x="131015" y="112399"/>
                  <a:pt x="119958" y="95883"/>
                </a:cubicBezTo>
                <a:lnTo>
                  <a:pt x="61636" y="95879"/>
                </a:lnTo>
                <a:cubicBezTo>
                  <a:pt x="50290" y="95879"/>
                  <a:pt x="41091" y="105077"/>
                  <a:pt x="41091" y="116424"/>
                </a:cubicBezTo>
                <a:lnTo>
                  <a:pt x="41091" y="486243"/>
                </a:lnTo>
                <a:cubicBezTo>
                  <a:pt x="41091" y="497589"/>
                  <a:pt x="50290" y="506788"/>
                  <a:pt x="61636" y="506788"/>
                </a:cubicBezTo>
                <a:lnTo>
                  <a:pt x="211816" y="506788"/>
                </a:lnTo>
                <a:cubicBezTo>
                  <a:pt x="219683" y="521882"/>
                  <a:pt x="229649" y="535708"/>
                  <a:pt x="241330" y="547879"/>
                </a:cubicBezTo>
                <a:lnTo>
                  <a:pt x="61636" y="547879"/>
                </a:lnTo>
                <a:cubicBezTo>
                  <a:pt x="27596" y="547879"/>
                  <a:pt x="0" y="520282"/>
                  <a:pt x="0" y="486243"/>
                </a:cubicBezTo>
                <a:lnTo>
                  <a:pt x="0" y="116424"/>
                </a:lnTo>
                <a:cubicBezTo>
                  <a:pt x="0" y="82383"/>
                  <a:pt x="27596" y="54788"/>
                  <a:pt x="61636" y="54788"/>
                </a:cubicBezTo>
                <a:lnTo>
                  <a:pt x="109954" y="54773"/>
                </a:lnTo>
                <a:cubicBezTo>
                  <a:pt x="113367" y="23962"/>
                  <a:pt x="139491" y="0"/>
                  <a:pt x="171212" y="0"/>
                </a:cubicBezTo>
                <a:lnTo>
                  <a:pt x="267091" y="0"/>
                </a:lnTo>
                <a:close/>
                <a:moveTo>
                  <a:pt x="328585" y="57416"/>
                </a:moveTo>
                <a:lnTo>
                  <a:pt x="328728" y="61636"/>
                </a:lnTo>
                <a:cubicBezTo>
                  <a:pt x="328728" y="60218"/>
                  <a:pt x="328681" y="58811"/>
                  <a:pt x="328585" y="57416"/>
                </a:cubicBezTo>
                <a:close/>
                <a:moveTo>
                  <a:pt x="267091" y="41091"/>
                </a:moveTo>
                <a:lnTo>
                  <a:pt x="171212" y="41091"/>
                </a:lnTo>
                <a:cubicBezTo>
                  <a:pt x="159865" y="41091"/>
                  <a:pt x="150667" y="50290"/>
                  <a:pt x="150667" y="61636"/>
                </a:cubicBezTo>
                <a:cubicBezTo>
                  <a:pt x="150667" y="72983"/>
                  <a:pt x="159865" y="82182"/>
                  <a:pt x="171212" y="82182"/>
                </a:cubicBezTo>
                <a:lnTo>
                  <a:pt x="267091" y="82182"/>
                </a:lnTo>
                <a:cubicBezTo>
                  <a:pt x="278438" y="82182"/>
                  <a:pt x="287637" y="72983"/>
                  <a:pt x="287637" y="61636"/>
                </a:cubicBezTo>
                <a:cubicBezTo>
                  <a:pt x="287637" y="50290"/>
                  <a:pt x="278438" y="41091"/>
                  <a:pt x="267091" y="41091"/>
                </a:cubicBezTo>
                <a:close/>
                <a:moveTo>
                  <a:pt x="520485" y="424606"/>
                </a:moveTo>
                <a:cubicBezTo>
                  <a:pt x="520485" y="507818"/>
                  <a:pt x="453030" y="575273"/>
                  <a:pt x="369818" y="575273"/>
                </a:cubicBezTo>
                <a:cubicBezTo>
                  <a:pt x="286607" y="575273"/>
                  <a:pt x="219152" y="507818"/>
                  <a:pt x="219152" y="424606"/>
                </a:cubicBezTo>
                <a:cubicBezTo>
                  <a:pt x="219152" y="341394"/>
                  <a:pt x="286607" y="273940"/>
                  <a:pt x="369818" y="273940"/>
                </a:cubicBezTo>
                <a:cubicBezTo>
                  <a:pt x="453030" y="273940"/>
                  <a:pt x="520485" y="341394"/>
                  <a:pt x="520485" y="424606"/>
                </a:cubicBezTo>
                <a:close/>
                <a:moveTo>
                  <a:pt x="461687" y="360132"/>
                </a:moveTo>
                <a:cubicBezTo>
                  <a:pt x="456337" y="354785"/>
                  <a:pt x="447664" y="354785"/>
                  <a:pt x="442314" y="360132"/>
                </a:cubicBezTo>
                <a:lnTo>
                  <a:pt x="342424" y="460024"/>
                </a:lnTo>
                <a:lnTo>
                  <a:pt x="297323" y="414920"/>
                </a:lnTo>
                <a:cubicBezTo>
                  <a:pt x="291973" y="409573"/>
                  <a:pt x="283300" y="409573"/>
                  <a:pt x="277950" y="414920"/>
                </a:cubicBezTo>
                <a:cubicBezTo>
                  <a:pt x="272603" y="420270"/>
                  <a:pt x="272603" y="428943"/>
                  <a:pt x="277950" y="434293"/>
                </a:cubicBezTo>
                <a:lnTo>
                  <a:pt x="332738" y="489081"/>
                </a:lnTo>
                <a:cubicBezTo>
                  <a:pt x="338088" y="494428"/>
                  <a:pt x="346761" y="494428"/>
                  <a:pt x="352111" y="489081"/>
                </a:cubicBezTo>
                <a:lnTo>
                  <a:pt x="461687" y="379505"/>
                </a:lnTo>
                <a:cubicBezTo>
                  <a:pt x="467034" y="374155"/>
                  <a:pt x="467034" y="365482"/>
                  <a:pt x="461687" y="360132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8" name="Graphic 76" descr="Cursor&#10;Keyword: fluent-icon;&#10;Metaphor: arrow, interact, click.&#10;&#10;Used in user cursor scenarios.">
            <a:extLst>
              <a:ext uri="{FF2B5EF4-FFF2-40B4-BE49-F238E27FC236}">
                <a16:creationId xmlns:a16="http://schemas.microsoft.com/office/drawing/2014/main" id="{2CC4957B-DAC1-0A96-5C99-612AB92CBE63}"/>
              </a:ext>
            </a:extLst>
          </p:cNvPr>
          <p:cNvSpPr/>
          <p:nvPr/>
        </p:nvSpPr>
        <p:spPr>
          <a:xfrm>
            <a:off x="787954" y="4403233"/>
            <a:ext cx="452473" cy="548277"/>
          </a:xfrm>
          <a:custGeom>
            <a:avLst/>
            <a:gdLst>
              <a:gd name="connsiteX0" fmla="*/ 0 w 452473"/>
              <a:gd name="connsiteY0" fmla="*/ 41167 h 548277"/>
              <a:gd name="connsiteX1" fmla="*/ 66320 w 452473"/>
              <a:gd name="connsiteY1" fmla="*/ 8733 h 548277"/>
              <a:gd name="connsiteX2" fmla="*/ 436531 w 452473"/>
              <a:gd name="connsiteY2" fmla="*/ 296708 h 548277"/>
              <a:gd name="connsiteX3" fmla="*/ 411301 w 452473"/>
              <a:gd name="connsiteY3" fmla="*/ 370233 h 548277"/>
              <a:gd name="connsiteX4" fmla="*/ 223587 w 452473"/>
              <a:gd name="connsiteY4" fmla="*/ 370233 h 548277"/>
              <a:gd name="connsiteX5" fmla="*/ 188131 w 452473"/>
              <a:gd name="connsiteY5" fmla="*/ 387398 h 548277"/>
              <a:gd name="connsiteX6" fmla="*/ 73323 w 452473"/>
              <a:gd name="connsiteY6" fmla="*/ 532592 h 548277"/>
              <a:gd name="connsiteX7" fmla="*/ 0 w 452473"/>
              <a:gd name="connsiteY7" fmla="*/ 507104 h 548277"/>
              <a:gd name="connsiteX8" fmla="*/ 0 w 452473"/>
              <a:gd name="connsiteY8" fmla="*/ 41167 h 548277"/>
              <a:gd name="connsiteX9" fmla="*/ 411301 w 452473"/>
              <a:gd name="connsiteY9" fmla="*/ 329142 h 548277"/>
              <a:gd name="connsiteX10" fmla="*/ 41091 w 452473"/>
              <a:gd name="connsiteY10" fmla="*/ 41167 h 548277"/>
              <a:gd name="connsiteX11" fmla="*/ 41091 w 452473"/>
              <a:gd name="connsiteY11" fmla="*/ 507104 h 548277"/>
              <a:gd name="connsiteX12" fmla="*/ 155899 w 452473"/>
              <a:gd name="connsiteY12" fmla="*/ 361911 h 548277"/>
              <a:gd name="connsiteX13" fmla="*/ 223587 w 452473"/>
              <a:gd name="connsiteY13" fmla="*/ 329142 h 548277"/>
              <a:gd name="connsiteX14" fmla="*/ 411301 w 452473"/>
              <a:gd name="connsiteY14" fmla="*/ 329142 h 548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52473" h="548277">
                <a:moveTo>
                  <a:pt x="0" y="41167"/>
                </a:moveTo>
                <a:cubicBezTo>
                  <a:pt x="0" y="6972"/>
                  <a:pt x="39330" y="-12262"/>
                  <a:pt x="66320" y="8733"/>
                </a:cubicBezTo>
                <a:lnTo>
                  <a:pt x="436531" y="296708"/>
                </a:lnTo>
                <a:cubicBezTo>
                  <a:pt x="467412" y="320730"/>
                  <a:pt x="450425" y="370233"/>
                  <a:pt x="411301" y="370233"/>
                </a:cubicBezTo>
                <a:lnTo>
                  <a:pt x="223587" y="370233"/>
                </a:lnTo>
                <a:cubicBezTo>
                  <a:pt x="209767" y="370233"/>
                  <a:pt x="196705" y="376556"/>
                  <a:pt x="188131" y="387398"/>
                </a:cubicBezTo>
                <a:lnTo>
                  <a:pt x="73323" y="532592"/>
                </a:lnTo>
                <a:cubicBezTo>
                  <a:pt x="49158" y="563152"/>
                  <a:pt x="0" y="546064"/>
                  <a:pt x="0" y="507104"/>
                </a:cubicBezTo>
                <a:lnTo>
                  <a:pt x="0" y="41167"/>
                </a:lnTo>
                <a:close/>
                <a:moveTo>
                  <a:pt x="411301" y="329142"/>
                </a:moveTo>
                <a:lnTo>
                  <a:pt x="41091" y="41167"/>
                </a:lnTo>
                <a:lnTo>
                  <a:pt x="41091" y="507104"/>
                </a:lnTo>
                <a:lnTo>
                  <a:pt x="155899" y="361911"/>
                </a:lnTo>
                <a:cubicBezTo>
                  <a:pt x="172264" y="341215"/>
                  <a:pt x="197201" y="329142"/>
                  <a:pt x="223587" y="329142"/>
                </a:cubicBezTo>
                <a:lnTo>
                  <a:pt x="411301" y="329142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9" name="Graphic 119" descr="Data Pie&#10;Keyword: fluent-icon;&#10;Metaphor: data viz, visualization, chart, map, trending, graph.&#10;&#10;Used in data viz scenarios.">
            <a:extLst>
              <a:ext uri="{FF2B5EF4-FFF2-40B4-BE49-F238E27FC236}">
                <a16:creationId xmlns:a16="http://schemas.microsoft.com/office/drawing/2014/main" id="{C24F39F7-76B7-765D-6737-3D3AE80E8D72}"/>
              </a:ext>
            </a:extLst>
          </p:cNvPr>
          <p:cNvSpPr/>
          <p:nvPr/>
        </p:nvSpPr>
        <p:spPr>
          <a:xfrm>
            <a:off x="1623353" y="4396906"/>
            <a:ext cx="561576" cy="561576"/>
          </a:xfrm>
          <a:custGeom>
            <a:avLst/>
            <a:gdLst>
              <a:gd name="connsiteX0" fmla="*/ 232849 w 561576"/>
              <a:gd name="connsiteY0" fmla="*/ 68485 h 561576"/>
              <a:gd name="connsiteX1" fmla="*/ 253394 w 561576"/>
              <a:gd name="connsiteY1" fmla="*/ 89030 h 561576"/>
              <a:gd name="connsiteX2" fmla="*/ 253394 w 561576"/>
              <a:gd name="connsiteY2" fmla="*/ 308182 h 561576"/>
              <a:gd name="connsiteX3" fmla="*/ 472546 w 561576"/>
              <a:gd name="connsiteY3" fmla="*/ 308182 h 561576"/>
              <a:gd name="connsiteX4" fmla="*/ 492905 w 561576"/>
              <a:gd name="connsiteY4" fmla="*/ 325939 h 561576"/>
              <a:gd name="connsiteX5" fmla="*/ 493091 w 561576"/>
              <a:gd name="connsiteY5" fmla="*/ 328728 h 561576"/>
              <a:gd name="connsiteX6" fmla="*/ 246546 w 561576"/>
              <a:gd name="connsiteY6" fmla="*/ 561576 h 561576"/>
              <a:gd name="connsiteX7" fmla="*/ 0 w 561576"/>
              <a:gd name="connsiteY7" fmla="*/ 315031 h 561576"/>
              <a:gd name="connsiteX8" fmla="*/ 232849 w 561576"/>
              <a:gd name="connsiteY8" fmla="*/ 68485 h 561576"/>
              <a:gd name="connsiteX9" fmla="*/ 212303 w 561576"/>
              <a:gd name="connsiteY9" fmla="*/ 110589 h 561576"/>
              <a:gd name="connsiteX10" fmla="*/ 206580 w 561576"/>
              <a:gd name="connsiteY10" fmla="*/ 111239 h 561576"/>
              <a:gd name="connsiteX11" fmla="*/ 41091 w 561576"/>
              <a:gd name="connsiteY11" fmla="*/ 315031 h 561576"/>
              <a:gd name="connsiteX12" fmla="*/ 246546 w 561576"/>
              <a:gd name="connsiteY12" fmla="*/ 520485 h 561576"/>
              <a:gd name="connsiteX13" fmla="*/ 450338 w 561576"/>
              <a:gd name="connsiteY13" fmla="*/ 354996 h 561576"/>
              <a:gd name="connsiteX14" fmla="*/ 450959 w 561576"/>
              <a:gd name="connsiteY14" fmla="*/ 349273 h 561576"/>
              <a:gd name="connsiteX15" fmla="*/ 232849 w 561576"/>
              <a:gd name="connsiteY15" fmla="*/ 349273 h 561576"/>
              <a:gd name="connsiteX16" fmla="*/ 212491 w 561576"/>
              <a:gd name="connsiteY16" fmla="*/ 331516 h 561576"/>
              <a:gd name="connsiteX17" fmla="*/ 212303 w 561576"/>
              <a:gd name="connsiteY17" fmla="*/ 328728 h 561576"/>
              <a:gd name="connsiteX18" fmla="*/ 212303 w 561576"/>
              <a:gd name="connsiteY18" fmla="*/ 110589 h 561576"/>
              <a:gd name="connsiteX19" fmla="*/ 315031 w 561576"/>
              <a:gd name="connsiteY19" fmla="*/ 0 h 561576"/>
              <a:gd name="connsiteX20" fmla="*/ 561576 w 561576"/>
              <a:gd name="connsiteY20" fmla="*/ 246546 h 561576"/>
              <a:gd name="connsiteX21" fmla="*/ 541031 w 561576"/>
              <a:gd name="connsiteY21" fmla="*/ 267091 h 561576"/>
              <a:gd name="connsiteX22" fmla="*/ 315031 w 561576"/>
              <a:gd name="connsiteY22" fmla="*/ 267091 h 561576"/>
              <a:gd name="connsiteX23" fmla="*/ 294485 w 561576"/>
              <a:gd name="connsiteY23" fmla="*/ 246546 h 561576"/>
              <a:gd name="connsiteX24" fmla="*/ 294485 w 561576"/>
              <a:gd name="connsiteY24" fmla="*/ 20545 h 561576"/>
              <a:gd name="connsiteX25" fmla="*/ 315031 w 561576"/>
              <a:gd name="connsiteY25" fmla="*/ 0 h 561576"/>
              <a:gd name="connsiteX26" fmla="*/ 335576 w 561576"/>
              <a:gd name="connsiteY26" fmla="*/ 42105 h 561576"/>
              <a:gd name="connsiteX27" fmla="*/ 335576 w 561576"/>
              <a:gd name="connsiteY27" fmla="*/ 226000 h 561576"/>
              <a:gd name="connsiteX28" fmla="*/ 519444 w 561576"/>
              <a:gd name="connsiteY28" fmla="*/ 226000 h 561576"/>
              <a:gd name="connsiteX29" fmla="*/ 518822 w 561576"/>
              <a:gd name="connsiteY29" fmla="*/ 220277 h 561576"/>
              <a:gd name="connsiteX30" fmla="*/ 341299 w 561576"/>
              <a:gd name="connsiteY30" fmla="*/ 42755 h 561576"/>
              <a:gd name="connsiteX31" fmla="*/ 335576 w 561576"/>
              <a:gd name="connsiteY31" fmla="*/ 42105 h 561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561576" h="561576">
                <a:moveTo>
                  <a:pt x="232849" y="68485"/>
                </a:moveTo>
                <a:cubicBezTo>
                  <a:pt x="244195" y="68485"/>
                  <a:pt x="253394" y="77684"/>
                  <a:pt x="253394" y="89030"/>
                </a:cubicBezTo>
                <a:lnTo>
                  <a:pt x="253394" y="308182"/>
                </a:lnTo>
                <a:lnTo>
                  <a:pt x="472546" y="308182"/>
                </a:lnTo>
                <a:cubicBezTo>
                  <a:pt x="482947" y="308182"/>
                  <a:pt x="491544" y="315913"/>
                  <a:pt x="492905" y="325939"/>
                </a:cubicBezTo>
                <a:lnTo>
                  <a:pt x="493091" y="328728"/>
                </a:lnTo>
                <a:cubicBezTo>
                  <a:pt x="493091" y="464892"/>
                  <a:pt x="382710" y="561576"/>
                  <a:pt x="246546" y="561576"/>
                </a:cubicBezTo>
                <a:cubicBezTo>
                  <a:pt x="110382" y="561576"/>
                  <a:pt x="0" y="451195"/>
                  <a:pt x="0" y="315031"/>
                </a:cubicBezTo>
                <a:cubicBezTo>
                  <a:pt x="0" y="178867"/>
                  <a:pt x="96685" y="68485"/>
                  <a:pt x="232849" y="68485"/>
                </a:cubicBezTo>
                <a:close/>
                <a:moveTo>
                  <a:pt x="212303" y="110589"/>
                </a:moveTo>
                <a:lnTo>
                  <a:pt x="206580" y="111239"/>
                </a:lnTo>
                <a:cubicBezTo>
                  <a:pt x="105516" y="124137"/>
                  <a:pt x="41091" y="210461"/>
                  <a:pt x="41091" y="315031"/>
                </a:cubicBezTo>
                <a:cubicBezTo>
                  <a:pt x="41091" y="428499"/>
                  <a:pt x="133076" y="520485"/>
                  <a:pt x="246546" y="520485"/>
                </a:cubicBezTo>
                <a:cubicBezTo>
                  <a:pt x="351117" y="520485"/>
                  <a:pt x="437440" y="456060"/>
                  <a:pt x="450338" y="354996"/>
                </a:cubicBezTo>
                <a:lnTo>
                  <a:pt x="450959" y="349273"/>
                </a:lnTo>
                <a:lnTo>
                  <a:pt x="232849" y="349273"/>
                </a:lnTo>
                <a:cubicBezTo>
                  <a:pt x="222447" y="349273"/>
                  <a:pt x="213851" y="341542"/>
                  <a:pt x="212491" y="331516"/>
                </a:cubicBezTo>
                <a:lnTo>
                  <a:pt x="212303" y="328728"/>
                </a:lnTo>
                <a:lnTo>
                  <a:pt x="212303" y="110589"/>
                </a:lnTo>
                <a:close/>
                <a:moveTo>
                  <a:pt x="315031" y="0"/>
                </a:moveTo>
                <a:cubicBezTo>
                  <a:pt x="451195" y="0"/>
                  <a:pt x="561576" y="110382"/>
                  <a:pt x="561576" y="246546"/>
                </a:cubicBezTo>
                <a:cubicBezTo>
                  <a:pt x="561576" y="257892"/>
                  <a:pt x="552377" y="267091"/>
                  <a:pt x="541031" y="267091"/>
                </a:cubicBezTo>
                <a:lnTo>
                  <a:pt x="315031" y="267091"/>
                </a:lnTo>
                <a:cubicBezTo>
                  <a:pt x="303684" y="267091"/>
                  <a:pt x="294485" y="257892"/>
                  <a:pt x="294485" y="246546"/>
                </a:cubicBezTo>
                <a:lnTo>
                  <a:pt x="294485" y="20545"/>
                </a:lnTo>
                <a:cubicBezTo>
                  <a:pt x="294485" y="9199"/>
                  <a:pt x="303684" y="0"/>
                  <a:pt x="315031" y="0"/>
                </a:cubicBezTo>
                <a:close/>
                <a:moveTo>
                  <a:pt x="335576" y="42105"/>
                </a:moveTo>
                <a:lnTo>
                  <a:pt x="335576" y="226000"/>
                </a:lnTo>
                <a:lnTo>
                  <a:pt x="519444" y="226000"/>
                </a:lnTo>
                <a:lnTo>
                  <a:pt x="518822" y="220277"/>
                </a:lnTo>
                <a:cubicBezTo>
                  <a:pt x="507021" y="127814"/>
                  <a:pt x="433761" y="54555"/>
                  <a:pt x="341299" y="42755"/>
                </a:cubicBezTo>
                <a:lnTo>
                  <a:pt x="335576" y="42105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0" name="Graphic 78" descr="Data Area&#10;Keyword: fluent-icon;&#10;Metaphor: data viz, visualization, chart, map, trending, graph.&#10;&#10;Used in data viz scenarios.">
            <a:extLst>
              <a:ext uri="{FF2B5EF4-FFF2-40B4-BE49-F238E27FC236}">
                <a16:creationId xmlns:a16="http://schemas.microsoft.com/office/drawing/2014/main" id="{5AB37269-B306-D13A-49F8-A774A0E498F4}"/>
              </a:ext>
            </a:extLst>
          </p:cNvPr>
          <p:cNvSpPr/>
          <p:nvPr/>
        </p:nvSpPr>
        <p:spPr>
          <a:xfrm>
            <a:off x="2584847" y="4431148"/>
            <a:ext cx="493093" cy="493091"/>
          </a:xfrm>
          <a:custGeom>
            <a:avLst/>
            <a:gdLst>
              <a:gd name="connsiteX0" fmla="*/ 3 w 493093"/>
              <a:gd name="connsiteY0" fmla="*/ 20545 h 493091"/>
              <a:gd name="connsiteX1" fmla="*/ 20549 w 493093"/>
              <a:gd name="connsiteY1" fmla="*/ 0 h 493091"/>
              <a:gd name="connsiteX2" fmla="*/ 41094 w 493093"/>
              <a:gd name="connsiteY2" fmla="*/ 20545 h 493091"/>
              <a:gd name="connsiteX3" fmla="*/ 41094 w 493093"/>
              <a:gd name="connsiteY3" fmla="*/ 191969 h 493091"/>
              <a:gd name="connsiteX4" fmla="*/ 141102 w 493093"/>
              <a:gd name="connsiteY4" fmla="*/ 139334 h 493091"/>
              <a:gd name="connsiteX5" fmla="*/ 161088 w 493093"/>
              <a:gd name="connsiteY5" fmla="*/ 139806 h 493091"/>
              <a:gd name="connsiteX6" fmla="*/ 265716 w 493093"/>
              <a:gd name="connsiteY6" fmla="*/ 201354 h 493091"/>
              <a:gd name="connsiteX7" fmla="*/ 419133 w 493093"/>
              <a:gd name="connsiteY7" fmla="*/ 86291 h 493091"/>
              <a:gd name="connsiteX8" fmla="*/ 440648 w 493093"/>
              <a:gd name="connsiteY8" fmla="*/ 84351 h 493091"/>
              <a:gd name="connsiteX9" fmla="*/ 452006 w 493093"/>
              <a:gd name="connsiteY9" fmla="*/ 102727 h 493091"/>
              <a:gd name="connsiteX10" fmla="*/ 452006 w 493093"/>
              <a:gd name="connsiteY10" fmla="*/ 452000 h 493091"/>
              <a:gd name="connsiteX11" fmla="*/ 472549 w 493093"/>
              <a:gd name="connsiteY11" fmla="*/ 452000 h 493091"/>
              <a:gd name="connsiteX12" fmla="*/ 493094 w 493093"/>
              <a:gd name="connsiteY12" fmla="*/ 472546 h 493091"/>
              <a:gd name="connsiteX13" fmla="*/ 472549 w 493093"/>
              <a:gd name="connsiteY13" fmla="*/ 493091 h 493091"/>
              <a:gd name="connsiteX14" fmla="*/ 20549 w 493093"/>
              <a:gd name="connsiteY14" fmla="*/ 493091 h 493091"/>
              <a:gd name="connsiteX15" fmla="*/ 3 w 493093"/>
              <a:gd name="connsiteY15" fmla="*/ 472546 h 493091"/>
              <a:gd name="connsiteX16" fmla="*/ 3 w 493093"/>
              <a:gd name="connsiteY16" fmla="*/ 226386 h 493091"/>
              <a:gd name="connsiteX17" fmla="*/ 3 w 493093"/>
              <a:gd name="connsiteY17" fmla="*/ 225647 h 493091"/>
              <a:gd name="connsiteX18" fmla="*/ 3 w 493093"/>
              <a:gd name="connsiteY18" fmla="*/ 20545 h 493091"/>
              <a:gd name="connsiteX19" fmla="*/ 41094 w 493093"/>
              <a:gd name="connsiteY19" fmla="*/ 238404 h 493091"/>
              <a:gd name="connsiteX20" fmla="*/ 41094 w 493093"/>
              <a:gd name="connsiteY20" fmla="*/ 452000 h 493091"/>
              <a:gd name="connsiteX21" fmla="*/ 410915 w 493093"/>
              <a:gd name="connsiteY21" fmla="*/ 452000 h 493091"/>
              <a:gd name="connsiteX22" fmla="*/ 410915 w 493093"/>
              <a:gd name="connsiteY22" fmla="*/ 143818 h 493091"/>
              <a:gd name="connsiteX23" fmla="*/ 279424 w 493093"/>
              <a:gd name="connsiteY23" fmla="*/ 242437 h 493091"/>
              <a:gd name="connsiteX24" fmla="*/ 256679 w 493093"/>
              <a:gd name="connsiteY24" fmla="*/ 243710 h 493091"/>
              <a:gd name="connsiteX25" fmla="*/ 150115 w 493093"/>
              <a:gd name="connsiteY25" fmla="*/ 181025 h 493091"/>
              <a:gd name="connsiteX26" fmla="*/ 41094 w 493093"/>
              <a:gd name="connsiteY26" fmla="*/ 238404 h 493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93093" h="493091">
                <a:moveTo>
                  <a:pt x="3" y="20545"/>
                </a:moveTo>
                <a:cubicBezTo>
                  <a:pt x="3" y="9199"/>
                  <a:pt x="9202" y="0"/>
                  <a:pt x="20549" y="0"/>
                </a:cubicBezTo>
                <a:cubicBezTo>
                  <a:pt x="31896" y="0"/>
                  <a:pt x="41094" y="9199"/>
                  <a:pt x="41094" y="20545"/>
                </a:cubicBezTo>
                <a:lnTo>
                  <a:pt x="41094" y="191969"/>
                </a:lnTo>
                <a:lnTo>
                  <a:pt x="141102" y="139334"/>
                </a:lnTo>
                <a:cubicBezTo>
                  <a:pt x="147396" y="136021"/>
                  <a:pt x="154957" y="136200"/>
                  <a:pt x="161088" y="139806"/>
                </a:cubicBezTo>
                <a:lnTo>
                  <a:pt x="265716" y="201354"/>
                </a:lnTo>
                <a:lnTo>
                  <a:pt x="419133" y="86291"/>
                </a:lnTo>
                <a:cubicBezTo>
                  <a:pt x="425357" y="81622"/>
                  <a:pt x="433687" y="80871"/>
                  <a:pt x="440648" y="84351"/>
                </a:cubicBezTo>
                <a:cubicBezTo>
                  <a:pt x="447609" y="87831"/>
                  <a:pt x="452006" y="94945"/>
                  <a:pt x="452006" y="102727"/>
                </a:cubicBezTo>
                <a:lnTo>
                  <a:pt x="452006" y="452000"/>
                </a:lnTo>
                <a:lnTo>
                  <a:pt x="472549" y="452000"/>
                </a:lnTo>
                <a:cubicBezTo>
                  <a:pt x="483895" y="452000"/>
                  <a:pt x="493094" y="461199"/>
                  <a:pt x="493094" y="472546"/>
                </a:cubicBezTo>
                <a:cubicBezTo>
                  <a:pt x="493094" y="483892"/>
                  <a:pt x="483895" y="493091"/>
                  <a:pt x="472549" y="493091"/>
                </a:cubicBezTo>
                <a:lnTo>
                  <a:pt x="20549" y="493091"/>
                </a:lnTo>
                <a:cubicBezTo>
                  <a:pt x="9202" y="493091"/>
                  <a:pt x="3" y="483892"/>
                  <a:pt x="3" y="472546"/>
                </a:cubicBezTo>
                <a:lnTo>
                  <a:pt x="3" y="226386"/>
                </a:lnTo>
                <a:cubicBezTo>
                  <a:pt x="-1" y="226140"/>
                  <a:pt x="-1" y="225893"/>
                  <a:pt x="3" y="225647"/>
                </a:cubicBezTo>
                <a:lnTo>
                  <a:pt x="3" y="20545"/>
                </a:lnTo>
                <a:close/>
                <a:moveTo>
                  <a:pt x="41094" y="238404"/>
                </a:moveTo>
                <a:lnTo>
                  <a:pt x="41094" y="452000"/>
                </a:lnTo>
                <a:lnTo>
                  <a:pt x="410915" y="452000"/>
                </a:lnTo>
                <a:lnTo>
                  <a:pt x="410915" y="143818"/>
                </a:lnTo>
                <a:lnTo>
                  <a:pt x="279424" y="242437"/>
                </a:lnTo>
                <a:cubicBezTo>
                  <a:pt x="272792" y="247409"/>
                  <a:pt x="263823" y="247913"/>
                  <a:pt x="256679" y="243710"/>
                </a:cubicBezTo>
                <a:lnTo>
                  <a:pt x="150115" y="181025"/>
                </a:lnTo>
                <a:lnTo>
                  <a:pt x="41094" y="238404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1" name="Graphic 82" descr="Blur&#10;Keyword: fluent-icon;&#10;Metaphor: image, photo, gaussian;&#10;&#10;Used in photo editing modes.">
            <a:extLst>
              <a:ext uri="{FF2B5EF4-FFF2-40B4-BE49-F238E27FC236}">
                <a16:creationId xmlns:a16="http://schemas.microsoft.com/office/drawing/2014/main" id="{AAF074B6-1352-4A88-3B91-8AE1C9BC819E}"/>
              </a:ext>
            </a:extLst>
          </p:cNvPr>
          <p:cNvSpPr/>
          <p:nvPr/>
        </p:nvSpPr>
        <p:spPr>
          <a:xfrm>
            <a:off x="3506036" y="4419408"/>
            <a:ext cx="516571" cy="516571"/>
          </a:xfrm>
          <a:custGeom>
            <a:avLst/>
            <a:gdLst>
              <a:gd name="connsiteX0" fmla="*/ 0 w 516571"/>
              <a:gd name="connsiteY0" fmla="*/ 258286 h 516571"/>
              <a:gd name="connsiteX1" fmla="*/ 258286 w 516571"/>
              <a:gd name="connsiteY1" fmla="*/ 0 h 516571"/>
              <a:gd name="connsiteX2" fmla="*/ 388575 w 516571"/>
              <a:gd name="connsiteY2" fmla="*/ 35221 h 516571"/>
              <a:gd name="connsiteX3" fmla="*/ 258286 w 516571"/>
              <a:gd name="connsiteY3" fmla="*/ 35221 h 516571"/>
              <a:gd name="connsiteX4" fmla="*/ 35221 w 516571"/>
              <a:gd name="connsiteY4" fmla="*/ 258286 h 516571"/>
              <a:gd name="connsiteX5" fmla="*/ 258286 w 516571"/>
              <a:gd name="connsiteY5" fmla="*/ 481351 h 516571"/>
              <a:gd name="connsiteX6" fmla="*/ 258286 w 516571"/>
              <a:gd name="connsiteY6" fmla="*/ 469611 h 516571"/>
              <a:gd name="connsiteX7" fmla="*/ 406828 w 516571"/>
              <a:gd name="connsiteY7" fmla="*/ 469611 h 516571"/>
              <a:gd name="connsiteX8" fmla="*/ 258286 w 516571"/>
              <a:gd name="connsiteY8" fmla="*/ 516572 h 516571"/>
              <a:gd name="connsiteX9" fmla="*/ 0 w 516571"/>
              <a:gd name="connsiteY9" fmla="*/ 258286 h 516571"/>
              <a:gd name="connsiteX10" fmla="*/ 422241 w 516571"/>
              <a:gd name="connsiteY10" fmla="*/ 58701 h 516571"/>
              <a:gd name="connsiteX11" fmla="*/ 457535 w 516571"/>
              <a:gd name="connsiteY11" fmla="*/ 93922 h 516571"/>
              <a:gd name="connsiteX12" fmla="*/ 258286 w 516571"/>
              <a:gd name="connsiteY12" fmla="*/ 93922 h 516571"/>
              <a:gd name="connsiteX13" fmla="*/ 258286 w 516571"/>
              <a:gd name="connsiteY13" fmla="*/ 58701 h 516571"/>
              <a:gd name="connsiteX14" fmla="*/ 422241 w 516571"/>
              <a:gd name="connsiteY14" fmla="*/ 58701 h 516571"/>
              <a:gd name="connsiteX15" fmla="*/ 494040 w 516571"/>
              <a:gd name="connsiteY15" fmla="*/ 152623 h 516571"/>
              <a:gd name="connsiteX16" fmla="*/ 474802 w 516571"/>
              <a:gd name="connsiteY16" fmla="*/ 117403 h 516571"/>
              <a:gd name="connsiteX17" fmla="*/ 258286 w 516571"/>
              <a:gd name="connsiteY17" fmla="*/ 117403 h 516571"/>
              <a:gd name="connsiteX18" fmla="*/ 258286 w 516571"/>
              <a:gd name="connsiteY18" fmla="*/ 152623 h 516571"/>
              <a:gd name="connsiteX19" fmla="*/ 494040 w 516571"/>
              <a:gd name="connsiteY19" fmla="*/ 152623 h 516571"/>
              <a:gd name="connsiteX20" fmla="*/ 503223 w 516571"/>
              <a:gd name="connsiteY20" fmla="*/ 176104 h 516571"/>
              <a:gd name="connsiteX21" fmla="*/ 512312 w 516571"/>
              <a:gd name="connsiteY21" fmla="*/ 211325 h 516571"/>
              <a:gd name="connsiteX22" fmla="*/ 258286 w 516571"/>
              <a:gd name="connsiteY22" fmla="*/ 211325 h 516571"/>
              <a:gd name="connsiteX23" fmla="*/ 258286 w 516571"/>
              <a:gd name="connsiteY23" fmla="*/ 176104 h 516571"/>
              <a:gd name="connsiteX24" fmla="*/ 503223 w 516571"/>
              <a:gd name="connsiteY24" fmla="*/ 176104 h 516571"/>
              <a:gd name="connsiteX25" fmla="*/ 516572 w 516571"/>
              <a:gd name="connsiteY25" fmla="*/ 258286 h 516571"/>
              <a:gd name="connsiteX26" fmla="*/ 515520 w 516571"/>
              <a:gd name="connsiteY26" fmla="*/ 234805 h 516571"/>
              <a:gd name="connsiteX27" fmla="*/ 258286 w 516571"/>
              <a:gd name="connsiteY27" fmla="*/ 234805 h 516571"/>
              <a:gd name="connsiteX28" fmla="*/ 258286 w 516571"/>
              <a:gd name="connsiteY28" fmla="*/ 270026 h 516571"/>
              <a:gd name="connsiteX29" fmla="*/ 516309 w 516571"/>
              <a:gd name="connsiteY29" fmla="*/ 270026 h 516571"/>
              <a:gd name="connsiteX30" fmla="*/ 516572 w 516571"/>
              <a:gd name="connsiteY30" fmla="*/ 258286 h 516571"/>
              <a:gd name="connsiteX31" fmla="*/ 514191 w 516571"/>
              <a:gd name="connsiteY31" fmla="*/ 293507 h 516571"/>
              <a:gd name="connsiteX32" fmla="*/ 506848 w 516571"/>
              <a:gd name="connsiteY32" fmla="*/ 328728 h 516571"/>
              <a:gd name="connsiteX33" fmla="*/ 258286 w 516571"/>
              <a:gd name="connsiteY33" fmla="*/ 328728 h 516571"/>
              <a:gd name="connsiteX34" fmla="*/ 258286 w 516571"/>
              <a:gd name="connsiteY34" fmla="*/ 293507 h 516571"/>
              <a:gd name="connsiteX35" fmla="*/ 514191 w 516571"/>
              <a:gd name="connsiteY35" fmla="*/ 293507 h 516571"/>
              <a:gd name="connsiteX36" fmla="*/ 482018 w 516571"/>
              <a:gd name="connsiteY36" fmla="*/ 387429 h 516571"/>
              <a:gd name="connsiteX37" fmla="*/ 498964 w 516571"/>
              <a:gd name="connsiteY37" fmla="*/ 352208 h 516571"/>
              <a:gd name="connsiteX38" fmla="*/ 258286 w 516571"/>
              <a:gd name="connsiteY38" fmla="*/ 352208 h 516571"/>
              <a:gd name="connsiteX39" fmla="*/ 258286 w 516571"/>
              <a:gd name="connsiteY39" fmla="*/ 387429 h 516571"/>
              <a:gd name="connsiteX40" fmla="*/ 482018 w 516571"/>
              <a:gd name="connsiteY40" fmla="*/ 387429 h 516571"/>
              <a:gd name="connsiteX41" fmla="*/ 466676 w 516571"/>
              <a:gd name="connsiteY41" fmla="*/ 410909 h 516571"/>
              <a:gd name="connsiteX42" fmla="*/ 435562 w 516571"/>
              <a:gd name="connsiteY42" fmla="*/ 446130 h 516571"/>
              <a:gd name="connsiteX43" fmla="*/ 258286 w 516571"/>
              <a:gd name="connsiteY43" fmla="*/ 446130 h 516571"/>
              <a:gd name="connsiteX44" fmla="*/ 258286 w 516571"/>
              <a:gd name="connsiteY44" fmla="*/ 410909 h 516571"/>
              <a:gd name="connsiteX45" fmla="*/ 466676 w 516571"/>
              <a:gd name="connsiteY45" fmla="*/ 410909 h 516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516571" h="516571">
                <a:moveTo>
                  <a:pt x="0" y="258286"/>
                </a:moveTo>
                <a:cubicBezTo>
                  <a:pt x="0" y="115639"/>
                  <a:pt x="115639" y="0"/>
                  <a:pt x="258286" y="0"/>
                </a:cubicBezTo>
                <a:cubicBezTo>
                  <a:pt x="305806" y="0"/>
                  <a:pt x="350327" y="12832"/>
                  <a:pt x="388575" y="35221"/>
                </a:cubicBezTo>
                <a:lnTo>
                  <a:pt x="258286" y="35221"/>
                </a:lnTo>
                <a:cubicBezTo>
                  <a:pt x="135090" y="35221"/>
                  <a:pt x="35221" y="135090"/>
                  <a:pt x="35221" y="258286"/>
                </a:cubicBezTo>
                <a:cubicBezTo>
                  <a:pt x="35221" y="381481"/>
                  <a:pt x="135090" y="481351"/>
                  <a:pt x="258286" y="481351"/>
                </a:cubicBezTo>
                <a:lnTo>
                  <a:pt x="258286" y="469611"/>
                </a:lnTo>
                <a:lnTo>
                  <a:pt x="406828" y="469611"/>
                </a:lnTo>
                <a:cubicBezTo>
                  <a:pt x="364812" y="499199"/>
                  <a:pt x="313578" y="516572"/>
                  <a:pt x="258286" y="516572"/>
                </a:cubicBezTo>
                <a:cubicBezTo>
                  <a:pt x="115639" y="516572"/>
                  <a:pt x="0" y="400933"/>
                  <a:pt x="0" y="258286"/>
                </a:cubicBezTo>
                <a:close/>
                <a:moveTo>
                  <a:pt x="422241" y="58701"/>
                </a:moveTo>
                <a:cubicBezTo>
                  <a:pt x="435106" y="69281"/>
                  <a:pt x="446929" y="81080"/>
                  <a:pt x="457535" y="93922"/>
                </a:cubicBezTo>
                <a:lnTo>
                  <a:pt x="258286" y="93922"/>
                </a:lnTo>
                <a:lnTo>
                  <a:pt x="258286" y="58701"/>
                </a:lnTo>
                <a:lnTo>
                  <a:pt x="422241" y="58701"/>
                </a:lnTo>
                <a:close/>
                <a:moveTo>
                  <a:pt x="494040" y="152623"/>
                </a:moveTo>
                <a:cubicBezTo>
                  <a:pt x="488529" y="140345"/>
                  <a:pt x="482086" y="128574"/>
                  <a:pt x="474802" y="117403"/>
                </a:cubicBezTo>
                <a:lnTo>
                  <a:pt x="258286" y="117403"/>
                </a:lnTo>
                <a:lnTo>
                  <a:pt x="258286" y="152623"/>
                </a:lnTo>
                <a:lnTo>
                  <a:pt x="494040" y="152623"/>
                </a:lnTo>
                <a:close/>
                <a:moveTo>
                  <a:pt x="503223" y="176104"/>
                </a:moveTo>
                <a:cubicBezTo>
                  <a:pt x="507048" y="187511"/>
                  <a:pt x="510098" y="199270"/>
                  <a:pt x="512312" y="211325"/>
                </a:cubicBezTo>
                <a:lnTo>
                  <a:pt x="258286" y="211325"/>
                </a:lnTo>
                <a:lnTo>
                  <a:pt x="258286" y="176104"/>
                </a:lnTo>
                <a:lnTo>
                  <a:pt x="503223" y="176104"/>
                </a:lnTo>
                <a:close/>
                <a:moveTo>
                  <a:pt x="516572" y="258286"/>
                </a:moveTo>
                <a:cubicBezTo>
                  <a:pt x="516572" y="250371"/>
                  <a:pt x="516215" y="242540"/>
                  <a:pt x="515520" y="234805"/>
                </a:cubicBezTo>
                <a:lnTo>
                  <a:pt x="258286" y="234805"/>
                </a:lnTo>
                <a:lnTo>
                  <a:pt x="258286" y="270026"/>
                </a:lnTo>
                <a:lnTo>
                  <a:pt x="516309" y="270026"/>
                </a:lnTo>
                <a:cubicBezTo>
                  <a:pt x="516485" y="266135"/>
                  <a:pt x="516572" y="262221"/>
                  <a:pt x="516572" y="258286"/>
                </a:cubicBezTo>
                <a:close/>
                <a:moveTo>
                  <a:pt x="514191" y="293507"/>
                </a:moveTo>
                <a:cubicBezTo>
                  <a:pt x="512552" y="305531"/>
                  <a:pt x="510084" y="317290"/>
                  <a:pt x="506848" y="328728"/>
                </a:cubicBezTo>
                <a:lnTo>
                  <a:pt x="258286" y="328728"/>
                </a:lnTo>
                <a:lnTo>
                  <a:pt x="258286" y="293507"/>
                </a:lnTo>
                <a:lnTo>
                  <a:pt x="514191" y="293507"/>
                </a:lnTo>
                <a:close/>
                <a:moveTo>
                  <a:pt x="482018" y="387429"/>
                </a:moveTo>
                <a:cubicBezTo>
                  <a:pt x="488515" y="376196"/>
                  <a:pt x="494192" y="364427"/>
                  <a:pt x="498964" y="352208"/>
                </a:cubicBezTo>
                <a:lnTo>
                  <a:pt x="258286" y="352208"/>
                </a:lnTo>
                <a:lnTo>
                  <a:pt x="258286" y="387429"/>
                </a:lnTo>
                <a:lnTo>
                  <a:pt x="482018" y="387429"/>
                </a:lnTo>
                <a:close/>
                <a:moveTo>
                  <a:pt x="466676" y="410909"/>
                </a:moveTo>
                <a:cubicBezTo>
                  <a:pt x="457382" y="423577"/>
                  <a:pt x="446961" y="435367"/>
                  <a:pt x="435562" y="446130"/>
                </a:cubicBezTo>
                <a:lnTo>
                  <a:pt x="258286" y="446130"/>
                </a:lnTo>
                <a:lnTo>
                  <a:pt x="258286" y="410909"/>
                </a:lnTo>
                <a:lnTo>
                  <a:pt x="466676" y="410909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2347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2" name="Graphic 84" descr="Camera&#10;Keyword: fluent-icon, teams;&#10;Metaphor: image, photography, picture;&#10;&#10;Used in camera scenarios.">
            <a:extLst>
              <a:ext uri="{FF2B5EF4-FFF2-40B4-BE49-F238E27FC236}">
                <a16:creationId xmlns:a16="http://schemas.microsoft.com/office/drawing/2014/main" id="{3ECA5F2F-CB0C-9024-E80B-0A63DF9A7974}"/>
              </a:ext>
            </a:extLst>
          </p:cNvPr>
          <p:cNvSpPr/>
          <p:nvPr/>
        </p:nvSpPr>
        <p:spPr>
          <a:xfrm>
            <a:off x="4409417" y="4407737"/>
            <a:ext cx="563532" cy="528240"/>
          </a:xfrm>
          <a:custGeom>
            <a:avLst/>
            <a:gdLst>
              <a:gd name="connsiteX0" fmla="*/ 351060 w 563532"/>
              <a:gd name="connsiteY0" fmla="*/ 0 h 528240"/>
              <a:gd name="connsiteX1" fmla="*/ 395882 w 563532"/>
              <a:gd name="connsiteY1" fmla="*/ 24866 h 528240"/>
              <a:gd name="connsiteX2" fmla="*/ 431598 w 563532"/>
              <a:gd name="connsiteY2" fmla="*/ 82110 h 528240"/>
              <a:gd name="connsiteX3" fmla="*/ 487221 w 563532"/>
              <a:gd name="connsiteY3" fmla="*/ 82110 h 528240"/>
              <a:gd name="connsiteX4" fmla="*/ 563533 w 563532"/>
              <a:gd name="connsiteY4" fmla="*/ 158422 h 528240"/>
              <a:gd name="connsiteX5" fmla="*/ 563533 w 563532"/>
              <a:gd name="connsiteY5" fmla="*/ 451929 h 528240"/>
              <a:gd name="connsiteX6" fmla="*/ 487221 w 563532"/>
              <a:gd name="connsiteY6" fmla="*/ 528241 h 528240"/>
              <a:gd name="connsiteX7" fmla="*/ 76312 w 563532"/>
              <a:gd name="connsiteY7" fmla="*/ 528241 h 528240"/>
              <a:gd name="connsiteX8" fmla="*/ 0 w 563532"/>
              <a:gd name="connsiteY8" fmla="*/ 451929 h 528240"/>
              <a:gd name="connsiteX9" fmla="*/ 0 w 563532"/>
              <a:gd name="connsiteY9" fmla="*/ 158422 h 528240"/>
              <a:gd name="connsiteX10" fmla="*/ 76312 w 563532"/>
              <a:gd name="connsiteY10" fmla="*/ 82110 h 528240"/>
              <a:gd name="connsiteX11" fmla="*/ 136622 w 563532"/>
              <a:gd name="connsiteY11" fmla="*/ 82110 h 528240"/>
              <a:gd name="connsiteX12" fmla="*/ 169085 w 563532"/>
              <a:gd name="connsiteY12" fmla="*/ 26276 h 528240"/>
              <a:gd name="connsiteX13" fmla="*/ 214758 w 563532"/>
              <a:gd name="connsiteY13" fmla="*/ 0 h 528240"/>
              <a:gd name="connsiteX14" fmla="*/ 351060 w 563532"/>
              <a:gd name="connsiteY14" fmla="*/ 0 h 528240"/>
              <a:gd name="connsiteX15" fmla="*/ 351060 w 563532"/>
              <a:gd name="connsiteY15" fmla="*/ 35221 h 528240"/>
              <a:gd name="connsiteX16" fmla="*/ 214758 w 563532"/>
              <a:gd name="connsiteY16" fmla="*/ 35221 h 528240"/>
              <a:gd name="connsiteX17" fmla="*/ 201040 w 563532"/>
              <a:gd name="connsiteY17" fmla="*/ 41787 h 528240"/>
              <a:gd name="connsiteX18" fmla="*/ 199533 w 563532"/>
              <a:gd name="connsiteY18" fmla="*/ 43980 h 528240"/>
              <a:gd name="connsiteX19" fmla="*/ 161977 w 563532"/>
              <a:gd name="connsiteY19" fmla="*/ 108572 h 528240"/>
              <a:gd name="connsiteX20" fmla="*/ 146753 w 563532"/>
              <a:gd name="connsiteY20" fmla="*/ 117331 h 528240"/>
              <a:gd name="connsiteX21" fmla="*/ 76312 w 563532"/>
              <a:gd name="connsiteY21" fmla="*/ 117331 h 528240"/>
              <a:gd name="connsiteX22" fmla="*/ 35221 w 563532"/>
              <a:gd name="connsiteY22" fmla="*/ 158422 h 528240"/>
              <a:gd name="connsiteX23" fmla="*/ 35221 w 563532"/>
              <a:gd name="connsiteY23" fmla="*/ 451929 h 528240"/>
              <a:gd name="connsiteX24" fmla="*/ 76312 w 563532"/>
              <a:gd name="connsiteY24" fmla="*/ 493020 h 528240"/>
              <a:gd name="connsiteX25" fmla="*/ 487221 w 563532"/>
              <a:gd name="connsiteY25" fmla="*/ 493020 h 528240"/>
              <a:gd name="connsiteX26" fmla="*/ 528312 w 563532"/>
              <a:gd name="connsiteY26" fmla="*/ 451929 h 528240"/>
              <a:gd name="connsiteX27" fmla="*/ 528312 w 563532"/>
              <a:gd name="connsiteY27" fmla="*/ 158422 h 528240"/>
              <a:gd name="connsiteX28" fmla="*/ 487221 w 563532"/>
              <a:gd name="connsiteY28" fmla="*/ 117331 h 528240"/>
              <a:gd name="connsiteX29" fmla="*/ 421828 w 563532"/>
              <a:gd name="connsiteY29" fmla="*/ 117331 h 528240"/>
              <a:gd name="connsiteX30" fmla="*/ 406887 w 563532"/>
              <a:gd name="connsiteY30" fmla="*/ 109042 h 528240"/>
              <a:gd name="connsiteX31" fmla="*/ 366001 w 563532"/>
              <a:gd name="connsiteY31" fmla="*/ 43509 h 528240"/>
              <a:gd name="connsiteX32" fmla="*/ 351060 w 563532"/>
              <a:gd name="connsiteY32" fmla="*/ 35221 h 528240"/>
              <a:gd name="connsiteX33" fmla="*/ 281766 w 563532"/>
              <a:gd name="connsiteY33" fmla="*/ 164315 h 528240"/>
              <a:gd name="connsiteX34" fmla="*/ 410909 w 563532"/>
              <a:gd name="connsiteY34" fmla="*/ 293459 h 528240"/>
              <a:gd name="connsiteX35" fmla="*/ 281766 w 563532"/>
              <a:gd name="connsiteY35" fmla="*/ 422602 h 528240"/>
              <a:gd name="connsiteX36" fmla="*/ 152623 w 563532"/>
              <a:gd name="connsiteY36" fmla="*/ 293459 h 528240"/>
              <a:gd name="connsiteX37" fmla="*/ 281766 w 563532"/>
              <a:gd name="connsiteY37" fmla="*/ 164315 h 528240"/>
              <a:gd name="connsiteX38" fmla="*/ 281766 w 563532"/>
              <a:gd name="connsiteY38" fmla="*/ 199537 h 528240"/>
              <a:gd name="connsiteX39" fmla="*/ 187844 w 563532"/>
              <a:gd name="connsiteY39" fmla="*/ 293459 h 528240"/>
              <a:gd name="connsiteX40" fmla="*/ 281766 w 563532"/>
              <a:gd name="connsiteY40" fmla="*/ 387381 h 528240"/>
              <a:gd name="connsiteX41" fmla="*/ 375689 w 563532"/>
              <a:gd name="connsiteY41" fmla="*/ 293459 h 528240"/>
              <a:gd name="connsiteX42" fmla="*/ 281766 w 563532"/>
              <a:gd name="connsiteY42" fmla="*/ 199537 h 528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563532" h="528240">
                <a:moveTo>
                  <a:pt x="351060" y="0"/>
                </a:moveTo>
                <a:cubicBezTo>
                  <a:pt x="369290" y="0"/>
                  <a:pt x="386231" y="9399"/>
                  <a:pt x="395882" y="24866"/>
                </a:cubicBezTo>
                <a:lnTo>
                  <a:pt x="431598" y="82110"/>
                </a:lnTo>
                <a:lnTo>
                  <a:pt x="487221" y="82110"/>
                </a:lnTo>
                <a:cubicBezTo>
                  <a:pt x="529366" y="82110"/>
                  <a:pt x="563533" y="116276"/>
                  <a:pt x="563533" y="158422"/>
                </a:cubicBezTo>
                <a:lnTo>
                  <a:pt x="563533" y="451929"/>
                </a:lnTo>
                <a:cubicBezTo>
                  <a:pt x="563533" y="494074"/>
                  <a:pt x="529366" y="528241"/>
                  <a:pt x="487221" y="528241"/>
                </a:cubicBezTo>
                <a:lnTo>
                  <a:pt x="76312" y="528241"/>
                </a:lnTo>
                <a:cubicBezTo>
                  <a:pt x="34166" y="528241"/>
                  <a:pt x="0" y="494074"/>
                  <a:pt x="0" y="451929"/>
                </a:cubicBezTo>
                <a:lnTo>
                  <a:pt x="0" y="158422"/>
                </a:lnTo>
                <a:cubicBezTo>
                  <a:pt x="0" y="116276"/>
                  <a:pt x="34166" y="82110"/>
                  <a:pt x="76312" y="82110"/>
                </a:cubicBezTo>
                <a:lnTo>
                  <a:pt x="136622" y="82110"/>
                </a:lnTo>
                <a:lnTo>
                  <a:pt x="169085" y="26276"/>
                </a:lnTo>
                <a:cubicBezTo>
                  <a:pt x="178544" y="10009"/>
                  <a:pt x="195940" y="0"/>
                  <a:pt x="214758" y="0"/>
                </a:cubicBezTo>
                <a:lnTo>
                  <a:pt x="351060" y="0"/>
                </a:lnTo>
                <a:close/>
                <a:moveTo>
                  <a:pt x="351060" y="35221"/>
                </a:moveTo>
                <a:lnTo>
                  <a:pt x="214758" y="35221"/>
                </a:lnTo>
                <a:cubicBezTo>
                  <a:pt x="209381" y="35221"/>
                  <a:pt x="204353" y="37672"/>
                  <a:pt x="201040" y="41787"/>
                </a:cubicBezTo>
                <a:lnTo>
                  <a:pt x="199533" y="43980"/>
                </a:lnTo>
                <a:lnTo>
                  <a:pt x="161977" y="108572"/>
                </a:lnTo>
                <a:cubicBezTo>
                  <a:pt x="158825" y="113995"/>
                  <a:pt x="153026" y="117331"/>
                  <a:pt x="146753" y="117331"/>
                </a:cubicBezTo>
                <a:lnTo>
                  <a:pt x="76312" y="117331"/>
                </a:lnTo>
                <a:cubicBezTo>
                  <a:pt x="53618" y="117331"/>
                  <a:pt x="35221" y="135728"/>
                  <a:pt x="35221" y="158422"/>
                </a:cubicBezTo>
                <a:lnTo>
                  <a:pt x="35221" y="451929"/>
                </a:lnTo>
                <a:cubicBezTo>
                  <a:pt x="35221" y="474623"/>
                  <a:pt x="53618" y="493020"/>
                  <a:pt x="76312" y="493020"/>
                </a:cubicBezTo>
                <a:lnTo>
                  <a:pt x="487221" y="493020"/>
                </a:lnTo>
                <a:cubicBezTo>
                  <a:pt x="509915" y="493020"/>
                  <a:pt x="528312" y="474623"/>
                  <a:pt x="528312" y="451929"/>
                </a:cubicBezTo>
                <a:lnTo>
                  <a:pt x="528312" y="158422"/>
                </a:lnTo>
                <a:cubicBezTo>
                  <a:pt x="528312" y="135728"/>
                  <a:pt x="509915" y="117331"/>
                  <a:pt x="487221" y="117331"/>
                </a:cubicBezTo>
                <a:lnTo>
                  <a:pt x="421828" y="117331"/>
                </a:lnTo>
                <a:cubicBezTo>
                  <a:pt x="415751" y="117331"/>
                  <a:pt x="410104" y="114198"/>
                  <a:pt x="406887" y="109042"/>
                </a:cubicBezTo>
                <a:lnTo>
                  <a:pt x="366001" y="43509"/>
                </a:lnTo>
                <a:cubicBezTo>
                  <a:pt x="362784" y="38354"/>
                  <a:pt x="357137" y="35221"/>
                  <a:pt x="351060" y="35221"/>
                </a:cubicBezTo>
                <a:close/>
                <a:moveTo>
                  <a:pt x="281766" y="164315"/>
                </a:moveTo>
                <a:cubicBezTo>
                  <a:pt x="353091" y="164315"/>
                  <a:pt x="410909" y="222135"/>
                  <a:pt x="410909" y="293459"/>
                </a:cubicBezTo>
                <a:cubicBezTo>
                  <a:pt x="410909" y="364781"/>
                  <a:pt x="353091" y="422602"/>
                  <a:pt x="281766" y="422602"/>
                </a:cubicBezTo>
                <a:cubicBezTo>
                  <a:pt x="210442" y="422602"/>
                  <a:pt x="152623" y="364781"/>
                  <a:pt x="152623" y="293459"/>
                </a:cubicBezTo>
                <a:cubicBezTo>
                  <a:pt x="152623" y="222135"/>
                  <a:pt x="210442" y="164315"/>
                  <a:pt x="281766" y="164315"/>
                </a:cubicBezTo>
                <a:close/>
                <a:moveTo>
                  <a:pt x="281766" y="199537"/>
                </a:moveTo>
                <a:cubicBezTo>
                  <a:pt x="229896" y="199537"/>
                  <a:pt x="187844" y="241586"/>
                  <a:pt x="187844" y="293459"/>
                </a:cubicBezTo>
                <a:cubicBezTo>
                  <a:pt x="187844" y="345330"/>
                  <a:pt x="229896" y="387381"/>
                  <a:pt x="281766" y="387381"/>
                </a:cubicBezTo>
                <a:cubicBezTo>
                  <a:pt x="333637" y="387381"/>
                  <a:pt x="375689" y="345330"/>
                  <a:pt x="375689" y="293459"/>
                </a:cubicBezTo>
                <a:cubicBezTo>
                  <a:pt x="375689" y="241586"/>
                  <a:pt x="333637" y="199537"/>
                  <a:pt x="281766" y="199537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2347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3" name="Graphic 86" descr="Cast&#10;Keyword: fluent-icon;&#10;Metaphor: connect, share;&#10;&#10;Used in screen casting to other devices.">
            <a:extLst>
              <a:ext uri="{FF2B5EF4-FFF2-40B4-BE49-F238E27FC236}">
                <a16:creationId xmlns:a16="http://schemas.microsoft.com/office/drawing/2014/main" id="{C8BF1C31-51D3-9033-24CE-95B7A17D597C}"/>
              </a:ext>
            </a:extLst>
          </p:cNvPr>
          <p:cNvSpPr/>
          <p:nvPr/>
        </p:nvSpPr>
        <p:spPr>
          <a:xfrm>
            <a:off x="5340582" y="4454629"/>
            <a:ext cx="563532" cy="446130"/>
          </a:xfrm>
          <a:custGeom>
            <a:avLst/>
            <a:gdLst>
              <a:gd name="connsiteX0" fmla="*/ 99792 w 563532"/>
              <a:gd name="connsiteY0" fmla="*/ 223039 h 446130"/>
              <a:gd name="connsiteX1" fmla="*/ 82182 w 563532"/>
              <a:gd name="connsiteY1" fmla="*/ 240650 h 446130"/>
              <a:gd name="connsiteX2" fmla="*/ 99792 w 563532"/>
              <a:gd name="connsiteY2" fmla="*/ 258260 h 446130"/>
              <a:gd name="connsiteX3" fmla="*/ 187814 w 563532"/>
              <a:gd name="connsiteY3" fmla="*/ 346282 h 446130"/>
              <a:gd name="connsiteX4" fmla="*/ 205424 w 563532"/>
              <a:gd name="connsiteY4" fmla="*/ 363892 h 446130"/>
              <a:gd name="connsiteX5" fmla="*/ 223035 w 563532"/>
              <a:gd name="connsiteY5" fmla="*/ 346282 h 446130"/>
              <a:gd name="connsiteX6" fmla="*/ 99792 w 563532"/>
              <a:gd name="connsiteY6" fmla="*/ 223039 h 446130"/>
              <a:gd name="connsiteX7" fmla="*/ 82182 w 563532"/>
              <a:gd name="connsiteY7" fmla="*/ 158494 h 446130"/>
              <a:gd name="connsiteX8" fmla="*/ 99792 w 563532"/>
              <a:gd name="connsiteY8" fmla="*/ 140883 h 446130"/>
              <a:gd name="connsiteX9" fmla="*/ 305364 w 563532"/>
              <a:gd name="connsiteY9" fmla="*/ 346282 h 446130"/>
              <a:gd name="connsiteX10" fmla="*/ 287754 w 563532"/>
              <a:gd name="connsiteY10" fmla="*/ 363892 h 446130"/>
              <a:gd name="connsiteX11" fmla="*/ 270144 w 563532"/>
              <a:gd name="connsiteY11" fmla="*/ 346282 h 446130"/>
              <a:gd name="connsiteX12" fmla="*/ 99792 w 563532"/>
              <a:gd name="connsiteY12" fmla="*/ 176104 h 446130"/>
              <a:gd name="connsiteX13" fmla="*/ 82182 w 563532"/>
              <a:gd name="connsiteY13" fmla="*/ 158494 h 446130"/>
              <a:gd name="connsiteX14" fmla="*/ 111533 w 563532"/>
              <a:gd name="connsiteY14" fmla="*/ 363927 h 446130"/>
              <a:gd name="connsiteX15" fmla="*/ 140883 w 563532"/>
              <a:gd name="connsiteY15" fmla="*/ 334577 h 446130"/>
              <a:gd name="connsiteX16" fmla="*/ 111533 w 563532"/>
              <a:gd name="connsiteY16" fmla="*/ 305226 h 446130"/>
              <a:gd name="connsiteX17" fmla="*/ 82182 w 563532"/>
              <a:gd name="connsiteY17" fmla="*/ 334577 h 446130"/>
              <a:gd name="connsiteX18" fmla="*/ 111533 w 563532"/>
              <a:gd name="connsiteY18" fmla="*/ 363927 h 446130"/>
              <a:gd name="connsiteX19" fmla="*/ 52831 w 563532"/>
              <a:gd name="connsiteY19" fmla="*/ 0 h 446130"/>
              <a:gd name="connsiteX20" fmla="*/ 0 w 563532"/>
              <a:gd name="connsiteY20" fmla="*/ 52831 h 446130"/>
              <a:gd name="connsiteX21" fmla="*/ 0 w 563532"/>
              <a:gd name="connsiteY21" fmla="*/ 393299 h 446130"/>
              <a:gd name="connsiteX22" fmla="*/ 52831 w 563532"/>
              <a:gd name="connsiteY22" fmla="*/ 446130 h 446130"/>
              <a:gd name="connsiteX23" fmla="*/ 510702 w 563532"/>
              <a:gd name="connsiteY23" fmla="*/ 446130 h 446130"/>
              <a:gd name="connsiteX24" fmla="*/ 563533 w 563532"/>
              <a:gd name="connsiteY24" fmla="*/ 393299 h 446130"/>
              <a:gd name="connsiteX25" fmla="*/ 563533 w 563532"/>
              <a:gd name="connsiteY25" fmla="*/ 52831 h 446130"/>
              <a:gd name="connsiteX26" fmla="*/ 510702 w 563532"/>
              <a:gd name="connsiteY26" fmla="*/ 0 h 446130"/>
              <a:gd name="connsiteX27" fmla="*/ 52831 w 563532"/>
              <a:gd name="connsiteY27" fmla="*/ 0 h 446130"/>
              <a:gd name="connsiteX28" fmla="*/ 35221 w 563532"/>
              <a:gd name="connsiteY28" fmla="*/ 52831 h 446130"/>
              <a:gd name="connsiteX29" fmla="*/ 52831 w 563532"/>
              <a:gd name="connsiteY29" fmla="*/ 35221 h 446130"/>
              <a:gd name="connsiteX30" fmla="*/ 510702 w 563532"/>
              <a:gd name="connsiteY30" fmla="*/ 35221 h 446130"/>
              <a:gd name="connsiteX31" fmla="*/ 528312 w 563532"/>
              <a:gd name="connsiteY31" fmla="*/ 52831 h 446130"/>
              <a:gd name="connsiteX32" fmla="*/ 528312 w 563532"/>
              <a:gd name="connsiteY32" fmla="*/ 393299 h 446130"/>
              <a:gd name="connsiteX33" fmla="*/ 510702 w 563532"/>
              <a:gd name="connsiteY33" fmla="*/ 410909 h 446130"/>
              <a:gd name="connsiteX34" fmla="*/ 52831 w 563532"/>
              <a:gd name="connsiteY34" fmla="*/ 410909 h 446130"/>
              <a:gd name="connsiteX35" fmla="*/ 35221 w 563532"/>
              <a:gd name="connsiteY35" fmla="*/ 393299 h 446130"/>
              <a:gd name="connsiteX36" fmla="*/ 35221 w 563532"/>
              <a:gd name="connsiteY36" fmla="*/ 52831 h 446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563532" h="446130">
                <a:moveTo>
                  <a:pt x="99792" y="223039"/>
                </a:moveTo>
                <a:cubicBezTo>
                  <a:pt x="90066" y="223039"/>
                  <a:pt x="82182" y="230924"/>
                  <a:pt x="82182" y="240650"/>
                </a:cubicBezTo>
                <a:cubicBezTo>
                  <a:pt x="82182" y="250375"/>
                  <a:pt x="90066" y="258260"/>
                  <a:pt x="99792" y="258260"/>
                </a:cubicBezTo>
                <a:cubicBezTo>
                  <a:pt x="148405" y="258260"/>
                  <a:pt x="187814" y="297670"/>
                  <a:pt x="187814" y="346282"/>
                </a:cubicBezTo>
                <a:cubicBezTo>
                  <a:pt x="187814" y="356007"/>
                  <a:pt x="195699" y="363892"/>
                  <a:pt x="205424" y="363892"/>
                </a:cubicBezTo>
                <a:cubicBezTo>
                  <a:pt x="215150" y="363892"/>
                  <a:pt x="223035" y="356007"/>
                  <a:pt x="223035" y="346282"/>
                </a:cubicBezTo>
                <a:cubicBezTo>
                  <a:pt x="223035" y="278216"/>
                  <a:pt x="167857" y="223039"/>
                  <a:pt x="99792" y="223039"/>
                </a:cubicBezTo>
                <a:close/>
                <a:moveTo>
                  <a:pt x="82182" y="158494"/>
                </a:moveTo>
                <a:cubicBezTo>
                  <a:pt x="82182" y="148768"/>
                  <a:pt x="90066" y="140883"/>
                  <a:pt x="99792" y="140883"/>
                </a:cubicBezTo>
                <a:cubicBezTo>
                  <a:pt x="213304" y="140883"/>
                  <a:pt x="305364" y="232727"/>
                  <a:pt x="305364" y="346282"/>
                </a:cubicBezTo>
                <a:cubicBezTo>
                  <a:pt x="305364" y="356007"/>
                  <a:pt x="297480" y="363892"/>
                  <a:pt x="287754" y="363892"/>
                </a:cubicBezTo>
                <a:cubicBezTo>
                  <a:pt x="278028" y="363892"/>
                  <a:pt x="270144" y="356007"/>
                  <a:pt x="270144" y="346282"/>
                </a:cubicBezTo>
                <a:cubicBezTo>
                  <a:pt x="270144" y="252221"/>
                  <a:pt x="193895" y="176104"/>
                  <a:pt x="99792" y="176104"/>
                </a:cubicBezTo>
                <a:cubicBezTo>
                  <a:pt x="90066" y="176104"/>
                  <a:pt x="82182" y="168219"/>
                  <a:pt x="82182" y="158494"/>
                </a:cubicBezTo>
                <a:close/>
                <a:moveTo>
                  <a:pt x="111533" y="363927"/>
                </a:moveTo>
                <a:cubicBezTo>
                  <a:pt x="127743" y="363927"/>
                  <a:pt x="140883" y="350785"/>
                  <a:pt x="140883" y="334577"/>
                </a:cubicBezTo>
                <a:cubicBezTo>
                  <a:pt x="140883" y="318366"/>
                  <a:pt x="127743" y="305226"/>
                  <a:pt x="111533" y="305226"/>
                </a:cubicBezTo>
                <a:cubicBezTo>
                  <a:pt x="95323" y="305226"/>
                  <a:pt x="82182" y="318366"/>
                  <a:pt x="82182" y="334577"/>
                </a:cubicBezTo>
                <a:cubicBezTo>
                  <a:pt x="82182" y="350785"/>
                  <a:pt x="95323" y="363927"/>
                  <a:pt x="111533" y="363927"/>
                </a:cubicBezTo>
                <a:close/>
                <a:moveTo>
                  <a:pt x="52831" y="0"/>
                </a:moveTo>
                <a:cubicBezTo>
                  <a:pt x="23653" y="0"/>
                  <a:pt x="0" y="23653"/>
                  <a:pt x="0" y="52831"/>
                </a:cubicBezTo>
                <a:lnTo>
                  <a:pt x="0" y="393299"/>
                </a:lnTo>
                <a:cubicBezTo>
                  <a:pt x="0" y="422476"/>
                  <a:pt x="23653" y="446130"/>
                  <a:pt x="52831" y="446130"/>
                </a:cubicBezTo>
                <a:lnTo>
                  <a:pt x="510702" y="446130"/>
                </a:lnTo>
                <a:cubicBezTo>
                  <a:pt x="539879" y="446130"/>
                  <a:pt x="563533" y="422476"/>
                  <a:pt x="563533" y="393299"/>
                </a:cubicBezTo>
                <a:lnTo>
                  <a:pt x="563533" y="52831"/>
                </a:lnTo>
                <a:cubicBezTo>
                  <a:pt x="563533" y="23653"/>
                  <a:pt x="539879" y="0"/>
                  <a:pt x="510702" y="0"/>
                </a:cubicBezTo>
                <a:lnTo>
                  <a:pt x="52831" y="0"/>
                </a:lnTo>
                <a:close/>
                <a:moveTo>
                  <a:pt x="35221" y="52831"/>
                </a:moveTo>
                <a:cubicBezTo>
                  <a:pt x="35221" y="43105"/>
                  <a:pt x="43105" y="35221"/>
                  <a:pt x="52831" y="35221"/>
                </a:cubicBezTo>
                <a:lnTo>
                  <a:pt x="510702" y="35221"/>
                </a:lnTo>
                <a:cubicBezTo>
                  <a:pt x="520427" y="35221"/>
                  <a:pt x="528312" y="43105"/>
                  <a:pt x="528312" y="52831"/>
                </a:cubicBezTo>
                <a:lnTo>
                  <a:pt x="528312" y="393299"/>
                </a:lnTo>
                <a:cubicBezTo>
                  <a:pt x="528312" y="403025"/>
                  <a:pt x="520427" y="410909"/>
                  <a:pt x="510702" y="410909"/>
                </a:cubicBezTo>
                <a:lnTo>
                  <a:pt x="52831" y="410909"/>
                </a:lnTo>
                <a:cubicBezTo>
                  <a:pt x="43105" y="410909"/>
                  <a:pt x="35221" y="403025"/>
                  <a:pt x="35221" y="393299"/>
                </a:cubicBezTo>
                <a:lnTo>
                  <a:pt x="35221" y="52831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2347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4" name="Graphic 88" descr="Arrow Sort&#10;Keyword: fluent-icon, outlook;&#10;Metaphor: arrow, direction;&#10;&#10;Used for sorting in list.">
            <a:extLst>
              <a:ext uri="{FF2B5EF4-FFF2-40B4-BE49-F238E27FC236}">
                <a16:creationId xmlns:a16="http://schemas.microsoft.com/office/drawing/2014/main" id="{46800D70-71E8-4A84-0806-2B4B2F4AD165}"/>
              </a:ext>
            </a:extLst>
          </p:cNvPr>
          <p:cNvSpPr/>
          <p:nvPr/>
        </p:nvSpPr>
        <p:spPr>
          <a:xfrm>
            <a:off x="6274826" y="4442889"/>
            <a:ext cx="563533" cy="469610"/>
          </a:xfrm>
          <a:custGeom>
            <a:avLst/>
            <a:gdLst>
              <a:gd name="connsiteX0" fmla="*/ 5161 w 563533"/>
              <a:gd name="connsiteY0" fmla="*/ 140109 h 469610"/>
              <a:gd name="connsiteX1" fmla="*/ 140174 w 563533"/>
              <a:gd name="connsiteY1" fmla="*/ 5155 h 469610"/>
              <a:gd name="connsiteX2" fmla="*/ 142175 w 563533"/>
              <a:gd name="connsiteY2" fmla="*/ 3428 h 469610"/>
              <a:gd name="connsiteX3" fmla="*/ 143529 w 563533"/>
              <a:gd name="connsiteY3" fmla="*/ 2527 h 469610"/>
              <a:gd name="connsiteX4" fmla="*/ 145228 w 563533"/>
              <a:gd name="connsiteY4" fmla="*/ 1623 h 469610"/>
              <a:gd name="connsiteX5" fmla="*/ 147688 w 563533"/>
              <a:gd name="connsiteY5" fmla="*/ 703 h 469610"/>
              <a:gd name="connsiteX6" fmla="*/ 150154 w 563533"/>
              <a:gd name="connsiteY6" fmla="*/ 173 h 469610"/>
              <a:gd name="connsiteX7" fmla="*/ 151380 w 563533"/>
              <a:gd name="connsiteY7" fmla="*/ 43 h 469610"/>
              <a:gd name="connsiteX8" fmla="*/ 152623 w 563533"/>
              <a:gd name="connsiteY8" fmla="*/ 0 h 469610"/>
              <a:gd name="connsiteX9" fmla="*/ 153965 w 563533"/>
              <a:gd name="connsiteY9" fmla="*/ 50 h 469610"/>
              <a:gd name="connsiteX10" fmla="*/ 156124 w 563533"/>
              <a:gd name="connsiteY10" fmla="*/ 350 h 469610"/>
              <a:gd name="connsiteX11" fmla="*/ 158624 w 563533"/>
              <a:gd name="connsiteY11" fmla="*/ 1050 h 469610"/>
              <a:gd name="connsiteX12" fmla="*/ 160636 w 563533"/>
              <a:gd name="connsiteY12" fmla="*/ 1923 h 469610"/>
              <a:gd name="connsiteX13" fmla="*/ 161902 w 563533"/>
              <a:gd name="connsiteY13" fmla="*/ 2640 h 469610"/>
              <a:gd name="connsiteX14" fmla="*/ 163385 w 563533"/>
              <a:gd name="connsiteY14" fmla="*/ 3669 h 469610"/>
              <a:gd name="connsiteX15" fmla="*/ 165073 w 563533"/>
              <a:gd name="connsiteY15" fmla="*/ 5155 h 469610"/>
              <a:gd name="connsiteX16" fmla="*/ 300086 w 563533"/>
              <a:gd name="connsiteY16" fmla="*/ 140109 h 469610"/>
              <a:gd name="connsiteX17" fmla="*/ 300091 w 563533"/>
              <a:gd name="connsiteY17" fmla="*/ 165014 h 469610"/>
              <a:gd name="connsiteX18" fmla="*/ 277162 w 563533"/>
              <a:gd name="connsiteY18" fmla="*/ 166724 h 469610"/>
              <a:gd name="connsiteX19" fmla="*/ 275187 w 563533"/>
              <a:gd name="connsiteY19" fmla="*/ 165019 h 469610"/>
              <a:gd name="connsiteX20" fmla="*/ 170225 w 563533"/>
              <a:gd name="connsiteY20" fmla="*/ 60100 h 469610"/>
              <a:gd name="connsiteX21" fmla="*/ 170234 w 563533"/>
              <a:gd name="connsiteY21" fmla="*/ 452000 h 469610"/>
              <a:gd name="connsiteX22" fmla="*/ 152623 w 563533"/>
              <a:gd name="connsiteY22" fmla="*/ 469611 h 469610"/>
              <a:gd name="connsiteX23" fmla="*/ 135174 w 563533"/>
              <a:gd name="connsiteY23" fmla="*/ 454391 h 469610"/>
              <a:gd name="connsiteX24" fmla="*/ 135013 w 563533"/>
              <a:gd name="connsiteY24" fmla="*/ 452000 h 469610"/>
              <a:gd name="connsiteX25" fmla="*/ 135004 w 563533"/>
              <a:gd name="connsiteY25" fmla="*/ 60100 h 469610"/>
              <a:gd name="connsiteX26" fmla="*/ 30060 w 563533"/>
              <a:gd name="connsiteY26" fmla="*/ 165019 h 469610"/>
              <a:gd name="connsiteX27" fmla="*/ 7130 w 563533"/>
              <a:gd name="connsiteY27" fmla="*/ 166719 h 469610"/>
              <a:gd name="connsiteX28" fmla="*/ 5155 w 563533"/>
              <a:gd name="connsiteY28" fmla="*/ 165014 h 469610"/>
              <a:gd name="connsiteX29" fmla="*/ 3455 w 563533"/>
              <a:gd name="connsiteY29" fmla="*/ 142083 h 469610"/>
              <a:gd name="connsiteX30" fmla="*/ 5161 w 563533"/>
              <a:gd name="connsiteY30" fmla="*/ 140109 h 469610"/>
              <a:gd name="connsiteX31" fmla="*/ 410909 w 563533"/>
              <a:gd name="connsiteY31" fmla="*/ 0 h 469610"/>
              <a:gd name="connsiteX32" fmla="*/ 428360 w 563533"/>
              <a:gd name="connsiteY32" fmla="*/ 15221 h 469610"/>
              <a:gd name="connsiteX33" fmla="*/ 428520 w 563533"/>
              <a:gd name="connsiteY33" fmla="*/ 17610 h 469610"/>
              <a:gd name="connsiteX34" fmla="*/ 428520 w 563533"/>
              <a:gd name="connsiteY34" fmla="*/ 409430 h 469610"/>
              <a:gd name="connsiteX35" fmla="*/ 533473 w 563533"/>
              <a:gd name="connsiteY35" fmla="*/ 304533 h 469610"/>
              <a:gd name="connsiteX36" fmla="*/ 535448 w 563533"/>
              <a:gd name="connsiteY36" fmla="*/ 302828 h 469610"/>
              <a:gd name="connsiteX37" fmla="*/ 558377 w 563533"/>
              <a:gd name="connsiteY37" fmla="*/ 304538 h 469610"/>
              <a:gd name="connsiteX38" fmla="*/ 560077 w 563533"/>
              <a:gd name="connsiteY38" fmla="*/ 327467 h 469610"/>
              <a:gd name="connsiteX39" fmla="*/ 558372 w 563533"/>
              <a:gd name="connsiteY39" fmla="*/ 329441 h 469610"/>
              <a:gd name="connsiteX40" fmla="*/ 423882 w 563533"/>
              <a:gd name="connsiteY40" fmla="*/ 463910 h 469610"/>
              <a:gd name="connsiteX41" fmla="*/ 410909 w 563533"/>
              <a:gd name="connsiteY41" fmla="*/ 469611 h 469610"/>
              <a:gd name="connsiteX42" fmla="*/ 399660 w 563533"/>
              <a:gd name="connsiteY42" fmla="*/ 465549 h 469610"/>
              <a:gd name="connsiteX43" fmla="*/ 397936 w 563533"/>
              <a:gd name="connsiteY43" fmla="*/ 463910 h 469610"/>
              <a:gd name="connsiteX44" fmla="*/ 263447 w 563533"/>
              <a:gd name="connsiteY44" fmla="*/ 329441 h 469610"/>
              <a:gd name="connsiteX45" fmla="*/ 261742 w 563533"/>
              <a:gd name="connsiteY45" fmla="*/ 327467 h 469610"/>
              <a:gd name="connsiteX46" fmla="*/ 261568 w 563533"/>
              <a:gd name="connsiteY46" fmla="*/ 306745 h 469610"/>
              <a:gd name="connsiteX47" fmla="*/ 263442 w 563533"/>
              <a:gd name="connsiteY47" fmla="*/ 304538 h 469610"/>
              <a:gd name="connsiteX48" fmla="*/ 265417 w 563533"/>
              <a:gd name="connsiteY48" fmla="*/ 302833 h 469610"/>
              <a:gd name="connsiteX49" fmla="*/ 286139 w 563533"/>
              <a:gd name="connsiteY49" fmla="*/ 302659 h 469610"/>
              <a:gd name="connsiteX50" fmla="*/ 288346 w 563533"/>
              <a:gd name="connsiteY50" fmla="*/ 304533 h 469610"/>
              <a:gd name="connsiteX51" fmla="*/ 393299 w 563533"/>
              <a:gd name="connsiteY51" fmla="*/ 409477 h 469610"/>
              <a:gd name="connsiteX52" fmla="*/ 393299 w 563533"/>
              <a:gd name="connsiteY52" fmla="*/ 17610 h 469610"/>
              <a:gd name="connsiteX53" fmla="*/ 393459 w 563533"/>
              <a:gd name="connsiteY53" fmla="*/ 15221 h 469610"/>
              <a:gd name="connsiteX54" fmla="*/ 410909 w 563533"/>
              <a:gd name="connsiteY54" fmla="*/ 0 h 469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563533" h="469610">
                <a:moveTo>
                  <a:pt x="5161" y="140109"/>
                </a:moveTo>
                <a:lnTo>
                  <a:pt x="140174" y="5155"/>
                </a:lnTo>
                <a:lnTo>
                  <a:pt x="142175" y="3428"/>
                </a:lnTo>
                <a:lnTo>
                  <a:pt x="143529" y="2527"/>
                </a:lnTo>
                <a:lnTo>
                  <a:pt x="145228" y="1623"/>
                </a:lnTo>
                <a:lnTo>
                  <a:pt x="147688" y="703"/>
                </a:lnTo>
                <a:lnTo>
                  <a:pt x="150154" y="173"/>
                </a:lnTo>
                <a:lnTo>
                  <a:pt x="151380" y="43"/>
                </a:lnTo>
                <a:lnTo>
                  <a:pt x="152623" y="0"/>
                </a:lnTo>
                <a:lnTo>
                  <a:pt x="153965" y="50"/>
                </a:lnTo>
                <a:lnTo>
                  <a:pt x="156124" y="350"/>
                </a:lnTo>
                <a:lnTo>
                  <a:pt x="158624" y="1050"/>
                </a:lnTo>
                <a:lnTo>
                  <a:pt x="160636" y="1923"/>
                </a:lnTo>
                <a:lnTo>
                  <a:pt x="161902" y="2640"/>
                </a:lnTo>
                <a:lnTo>
                  <a:pt x="163385" y="3669"/>
                </a:lnTo>
                <a:lnTo>
                  <a:pt x="165073" y="5155"/>
                </a:lnTo>
                <a:lnTo>
                  <a:pt x="300086" y="140109"/>
                </a:lnTo>
                <a:cubicBezTo>
                  <a:pt x="306966" y="146986"/>
                  <a:pt x="306968" y="158134"/>
                  <a:pt x="300091" y="165014"/>
                </a:cubicBezTo>
                <a:cubicBezTo>
                  <a:pt x="293840" y="171267"/>
                  <a:pt x="284058" y="171838"/>
                  <a:pt x="277162" y="166724"/>
                </a:cubicBezTo>
                <a:lnTo>
                  <a:pt x="275187" y="165019"/>
                </a:lnTo>
                <a:lnTo>
                  <a:pt x="170225" y="60100"/>
                </a:lnTo>
                <a:lnTo>
                  <a:pt x="170234" y="452000"/>
                </a:lnTo>
                <a:cubicBezTo>
                  <a:pt x="170234" y="461726"/>
                  <a:pt x="162349" y="469611"/>
                  <a:pt x="152623" y="469611"/>
                </a:cubicBezTo>
                <a:cubicBezTo>
                  <a:pt x="143708" y="469611"/>
                  <a:pt x="136340" y="462985"/>
                  <a:pt x="135174" y="454391"/>
                </a:cubicBezTo>
                <a:lnTo>
                  <a:pt x="135013" y="452000"/>
                </a:lnTo>
                <a:lnTo>
                  <a:pt x="135004" y="60100"/>
                </a:lnTo>
                <a:lnTo>
                  <a:pt x="30060" y="165019"/>
                </a:lnTo>
                <a:cubicBezTo>
                  <a:pt x="23807" y="171269"/>
                  <a:pt x="14023" y="171835"/>
                  <a:pt x="7130" y="166719"/>
                </a:cubicBezTo>
                <a:lnTo>
                  <a:pt x="5155" y="165014"/>
                </a:lnTo>
                <a:cubicBezTo>
                  <a:pt x="-1095" y="158761"/>
                  <a:pt x="-1662" y="148977"/>
                  <a:pt x="3455" y="142083"/>
                </a:cubicBezTo>
                <a:lnTo>
                  <a:pt x="5161" y="140109"/>
                </a:lnTo>
                <a:close/>
                <a:moveTo>
                  <a:pt x="410909" y="0"/>
                </a:moveTo>
                <a:cubicBezTo>
                  <a:pt x="419825" y="0"/>
                  <a:pt x="427193" y="6625"/>
                  <a:pt x="428360" y="15221"/>
                </a:cubicBezTo>
                <a:lnTo>
                  <a:pt x="428520" y="17610"/>
                </a:lnTo>
                <a:lnTo>
                  <a:pt x="428520" y="409430"/>
                </a:lnTo>
                <a:lnTo>
                  <a:pt x="533473" y="304533"/>
                </a:lnTo>
                <a:lnTo>
                  <a:pt x="535448" y="302828"/>
                </a:lnTo>
                <a:cubicBezTo>
                  <a:pt x="542344" y="297714"/>
                  <a:pt x="552126" y="298285"/>
                  <a:pt x="558377" y="304538"/>
                </a:cubicBezTo>
                <a:cubicBezTo>
                  <a:pt x="564629" y="310791"/>
                  <a:pt x="565195" y="320575"/>
                  <a:pt x="560077" y="327467"/>
                </a:cubicBezTo>
                <a:lnTo>
                  <a:pt x="558372" y="329441"/>
                </a:lnTo>
                <a:lnTo>
                  <a:pt x="423882" y="463910"/>
                </a:lnTo>
                <a:cubicBezTo>
                  <a:pt x="420663" y="467415"/>
                  <a:pt x="416042" y="469611"/>
                  <a:pt x="410909" y="469611"/>
                </a:cubicBezTo>
                <a:cubicBezTo>
                  <a:pt x="406631" y="469611"/>
                  <a:pt x="402710" y="468084"/>
                  <a:pt x="399660" y="465549"/>
                </a:cubicBezTo>
                <a:lnTo>
                  <a:pt x="397936" y="463910"/>
                </a:lnTo>
                <a:lnTo>
                  <a:pt x="263447" y="329441"/>
                </a:lnTo>
                <a:lnTo>
                  <a:pt x="261742" y="327467"/>
                </a:lnTo>
                <a:cubicBezTo>
                  <a:pt x="257192" y="321341"/>
                  <a:pt x="257135" y="312930"/>
                  <a:pt x="261568" y="306745"/>
                </a:cubicBezTo>
                <a:lnTo>
                  <a:pt x="263442" y="304538"/>
                </a:lnTo>
                <a:lnTo>
                  <a:pt x="265417" y="302833"/>
                </a:lnTo>
                <a:cubicBezTo>
                  <a:pt x="271543" y="298283"/>
                  <a:pt x="279954" y="298226"/>
                  <a:pt x="286139" y="302659"/>
                </a:cubicBezTo>
                <a:lnTo>
                  <a:pt x="288346" y="304533"/>
                </a:lnTo>
                <a:lnTo>
                  <a:pt x="393299" y="409477"/>
                </a:lnTo>
                <a:lnTo>
                  <a:pt x="393299" y="17610"/>
                </a:lnTo>
                <a:lnTo>
                  <a:pt x="393459" y="15221"/>
                </a:lnTo>
                <a:cubicBezTo>
                  <a:pt x="394626" y="6625"/>
                  <a:pt x="401994" y="0"/>
                  <a:pt x="410909" y="0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2347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5" name="Graphic 90" descr="Bookmark&#10;Keyword: fluent-icon;&#10;Metaphor: read, placeholder;&#10;&#10;Used in saving scenarios.">
            <a:extLst>
              <a:ext uri="{FF2B5EF4-FFF2-40B4-BE49-F238E27FC236}">
                <a16:creationId xmlns:a16="http://schemas.microsoft.com/office/drawing/2014/main" id="{1643B8A7-B6F2-4602-7BFD-ED76A0C17F54}"/>
              </a:ext>
            </a:extLst>
          </p:cNvPr>
          <p:cNvSpPr/>
          <p:nvPr/>
        </p:nvSpPr>
        <p:spPr>
          <a:xfrm>
            <a:off x="7293846" y="4410603"/>
            <a:ext cx="410909" cy="534181"/>
          </a:xfrm>
          <a:custGeom>
            <a:avLst/>
            <a:gdLst>
              <a:gd name="connsiteX0" fmla="*/ 0 w 410909"/>
              <a:gd name="connsiteY0" fmla="*/ 86291 h 534181"/>
              <a:gd name="connsiteX1" fmla="*/ 86291 w 410909"/>
              <a:gd name="connsiteY1" fmla="*/ 0 h 534181"/>
              <a:gd name="connsiteX2" fmla="*/ 324618 w 410909"/>
              <a:gd name="connsiteY2" fmla="*/ 0 h 534181"/>
              <a:gd name="connsiteX3" fmla="*/ 410909 w 410909"/>
              <a:gd name="connsiteY3" fmla="*/ 86291 h 534181"/>
              <a:gd name="connsiteX4" fmla="*/ 410909 w 410909"/>
              <a:gd name="connsiteY4" fmla="*/ 513637 h 534181"/>
              <a:gd name="connsiteX5" fmla="*/ 399718 w 410909"/>
              <a:gd name="connsiteY5" fmla="*/ 531930 h 534181"/>
              <a:gd name="connsiteX6" fmla="*/ 378335 w 410909"/>
              <a:gd name="connsiteY6" fmla="*/ 530293 h 534181"/>
              <a:gd name="connsiteX7" fmla="*/ 205455 w 410909"/>
              <a:gd name="connsiteY7" fmla="*/ 405434 h 534181"/>
              <a:gd name="connsiteX8" fmla="*/ 32575 w 410909"/>
              <a:gd name="connsiteY8" fmla="*/ 530293 h 534181"/>
              <a:gd name="connsiteX9" fmla="*/ 11192 w 410909"/>
              <a:gd name="connsiteY9" fmla="*/ 531930 h 534181"/>
              <a:gd name="connsiteX10" fmla="*/ 0 w 410909"/>
              <a:gd name="connsiteY10" fmla="*/ 513637 h 534181"/>
              <a:gd name="connsiteX11" fmla="*/ 0 w 410909"/>
              <a:gd name="connsiteY11" fmla="*/ 86291 h 534181"/>
              <a:gd name="connsiteX12" fmla="*/ 86291 w 410909"/>
              <a:gd name="connsiteY12" fmla="*/ 41091 h 534181"/>
              <a:gd name="connsiteX13" fmla="*/ 41091 w 410909"/>
              <a:gd name="connsiteY13" fmla="*/ 86291 h 534181"/>
              <a:gd name="connsiteX14" fmla="*/ 41091 w 410909"/>
              <a:gd name="connsiteY14" fmla="*/ 473454 h 534181"/>
              <a:gd name="connsiteX15" fmla="*/ 193425 w 410909"/>
              <a:gd name="connsiteY15" fmla="*/ 363435 h 534181"/>
              <a:gd name="connsiteX16" fmla="*/ 217482 w 410909"/>
              <a:gd name="connsiteY16" fmla="*/ 363435 h 534181"/>
              <a:gd name="connsiteX17" fmla="*/ 369818 w 410909"/>
              <a:gd name="connsiteY17" fmla="*/ 473454 h 534181"/>
              <a:gd name="connsiteX18" fmla="*/ 369818 w 410909"/>
              <a:gd name="connsiteY18" fmla="*/ 86291 h 534181"/>
              <a:gd name="connsiteX19" fmla="*/ 324618 w 410909"/>
              <a:gd name="connsiteY19" fmla="*/ 41091 h 534181"/>
              <a:gd name="connsiteX20" fmla="*/ 86291 w 410909"/>
              <a:gd name="connsiteY20" fmla="*/ 41091 h 534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10909" h="534181">
                <a:moveTo>
                  <a:pt x="0" y="86291"/>
                </a:moveTo>
                <a:cubicBezTo>
                  <a:pt x="0" y="38634"/>
                  <a:pt x="38634" y="0"/>
                  <a:pt x="86291" y="0"/>
                </a:cubicBezTo>
                <a:lnTo>
                  <a:pt x="324618" y="0"/>
                </a:lnTo>
                <a:cubicBezTo>
                  <a:pt x="372276" y="0"/>
                  <a:pt x="410909" y="38634"/>
                  <a:pt x="410909" y="86291"/>
                </a:cubicBezTo>
                <a:lnTo>
                  <a:pt x="410909" y="513637"/>
                </a:lnTo>
                <a:cubicBezTo>
                  <a:pt x="410909" y="521352"/>
                  <a:pt x="406587" y="528417"/>
                  <a:pt x="399718" y="531930"/>
                </a:cubicBezTo>
                <a:cubicBezTo>
                  <a:pt x="392848" y="535442"/>
                  <a:pt x="384589" y="534809"/>
                  <a:pt x="378335" y="530293"/>
                </a:cubicBezTo>
                <a:lnTo>
                  <a:pt x="205455" y="405434"/>
                </a:lnTo>
                <a:lnTo>
                  <a:pt x="32575" y="530293"/>
                </a:lnTo>
                <a:cubicBezTo>
                  <a:pt x="26320" y="534809"/>
                  <a:pt x="18062" y="535442"/>
                  <a:pt x="11192" y="531930"/>
                </a:cubicBezTo>
                <a:cubicBezTo>
                  <a:pt x="4323" y="528417"/>
                  <a:pt x="0" y="521352"/>
                  <a:pt x="0" y="513637"/>
                </a:cubicBezTo>
                <a:lnTo>
                  <a:pt x="0" y="86291"/>
                </a:lnTo>
                <a:close/>
                <a:moveTo>
                  <a:pt x="86291" y="41091"/>
                </a:moveTo>
                <a:cubicBezTo>
                  <a:pt x="61328" y="41091"/>
                  <a:pt x="41091" y="61328"/>
                  <a:pt x="41091" y="86291"/>
                </a:cubicBezTo>
                <a:lnTo>
                  <a:pt x="41091" y="473454"/>
                </a:lnTo>
                <a:lnTo>
                  <a:pt x="193425" y="363435"/>
                </a:lnTo>
                <a:cubicBezTo>
                  <a:pt x="200606" y="358249"/>
                  <a:pt x="210301" y="358249"/>
                  <a:pt x="217482" y="363435"/>
                </a:cubicBezTo>
                <a:lnTo>
                  <a:pt x="369818" y="473454"/>
                </a:lnTo>
                <a:lnTo>
                  <a:pt x="369818" y="86291"/>
                </a:lnTo>
                <a:cubicBezTo>
                  <a:pt x="369818" y="61328"/>
                  <a:pt x="349581" y="41091"/>
                  <a:pt x="324618" y="41091"/>
                </a:cubicBezTo>
                <a:lnTo>
                  <a:pt x="86291" y="41091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2053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6" name="Graphic 95" descr="Chat&#10;Keyword: fluent-icon, teams;&#10;Metaphor: discussion, message, post;&#10;&#10;Used in real time chat scenarios (versus comment - different icon).">
            <a:extLst>
              <a:ext uri="{FF2B5EF4-FFF2-40B4-BE49-F238E27FC236}">
                <a16:creationId xmlns:a16="http://schemas.microsoft.com/office/drawing/2014/main" id="{935C70A3-ACAD-93FA-BC43-E8D4CC66FC21}"/>
              </a:ext>
            </a:extLst>
          </p:cNvPr>
          <p:cNvSpPr/>
          <p:nvPr/>
        </p:nvSpPr>
        <p:spPr>
          <a:xfrm>
            <a:off x="8158512" y="4403106"/>
            <a:ext cx="551240" cy="548893"/>
          </a:xfrm>
          <a:custGeom>
            <a:avLst/>
            <a:gdLst>
              <a:gd name="connsiteX0" fmla="*/ 164721 w 551240"/>
              <a:gd name="connsiteY0" fmla="*/ 223225 h 548893"/>
              <a:gd name="connsiteX1" fmla="*/ 181842 w 551240"/>
              <a:gd name="connsiteY1" fmla="*/ 206103 h 548893"/>
              <a:gd name="connsiteX2" fmla="*/ 366813 w 551240"/>
              <a:gd name="connsiteY2" fmla="*/ 206103 h 548893"/>
              <a:gd name="connsiteX3" fmla="*/ 383934 w 551240"/>
              <a:gd name="connsiteY3" fmla="*/ 223225 h 548893"/>
              <a:gd name="connsiteX4" fmla="*/ 366813 w 551240"/>
              <a:gd name="connsiteY4" fmla="*/ 240346 h 548893"/>
              <a:gd name="connsiteX5" fmla="*/ 181842 w 551240"/>
              <a:gd name="connsiteY5" fmla="*/ 240346 h 548893"/>
              <a:gd name="connsiteX6" fmla="*/ 164721 w 551240"/>
              <a:gd name="connsiteY6" fmla="*/ 223225 h 548893"/>
              <a:gd name="connsiteX7" fmla="*/ 181902 w 551240"/>
              <a:gd name="connsiteY7" fmla="*/ 308488 h 548893"/>
              <a:gd name="connsiteX8" fmla="*/ 164781 w 551240"/>
              <a:gd name="connsiteY8" fmla="*/ 325610 h 548893"/>
              <a:gd name="connsiteX9" fmla="*/ 181902 w 551240"/>
              <a:gd name="connsiteY9" fmla="*/ 342731 h 548893"/>
              <a:gd name="connsiteX10" fmla="*/ 312024 w 551240"/>
              <a:gd name="connsiteY10" fmla="*/ 342731 h 548893"/>
              <a:gd name="connsiteX11" fmla="*/ 329145 w 551240"/>
              <a:gd name="connsiteY11" fmla="*/ 325610 h 548893"/>
              <a:gd name="connsiteX12" fmla="*/ 312024 w 551240"/>
              <a:gd name="connsiteY12" fmla="*/ 308488 h 548893"/>
              <a:gd name="connsiteX13" fmla="*/ 181902 w 551240"/>
              <a:gd name="connsiteY13" fmla="*/ 308488 h 548893"/>
              <a:gd name="connsiteX14" fmla="*/ 172117 w 551240"/>
              <a:gd name="connsiteY14" fmla="*/ 20523 h 548893"/>
              <a:gd name="connsiteX15" fmla="*/ 515324 w 551240"/>
              <a:gd name="connsiteY15" fmla="*/ 406177 h 548893"/>
              <a:gd name="connsiteX16" fmla="*/ 146761 w 551240"/>
              <a:gd name="connsiteY16" fmla="*/ 514739 h 548893"/>
              <a:gd name="connsiteX17" fmla="*/ 30553 w 551240"/>
              <a:gd name="connsiteY17" fmla="*/ 547942 h 548893"/>
              <a:gd name="connsiteX18" fmla="*/ 919 w 551240"/>
              <a:gd name="connsiteY18" fmla="*/ 518451 h 548893"/>
              <a:gd name="connsiteX19" fmla="*/ 33898 w 551240"/>
              <a:gd name="connsiteY19" fmla="*/ 403789 h 548893"/>
              <a:gd name="connsiteX20" fmla="*/ 172117 w 551240"/>
              <a:gd name="connsiteY20" fmla="*/ 20523 h 548893"/>
              <a:gd name="connsiteX21" fmla="*/ 485392 w 551240"/>
              <a:gd name="connsiteY21" fmla="*/ 389547 h 548893"/>
              <a:gd name="connsiteX22" fmla="*/ 184840 w 551240"/>
              <a:gd name="connsiteY22" fmla="*/ 52314 h 548893"/>
              <a:gd name="connsiteX23" fmla="*/ 67123 w 551240"/>
              <a:gd name="connsiteY23" fmla="*/ 392812 h 548893"/>
              <a:gd name="connsiteX24" fmla="*/ 71108 w 551240"/>
              <a:gd name="connsiteY24" fmla="*/ 399412 h 548893"/>
              <a:gd name="connsiteX25" fmla="*/ 68809 w 551240"/>
              <a:gd name="connsiteY25" fmla="*/ 406768 h 548893"/>
              <a:gd name="connsiteX26" fmla="*/ 38880 w 551240"/>
              <a:gd name="connsiteY26" fmla="*/ 509949 h 548893"/>
              <a:gd name="connsiteX27" fmla="*/ 150013 w 551240"/>
              <a:gd name="connsiteY27" fmla="*/ 478197 h 548893"/>
              <a:gd name="connsiteX28" fmla="*/ 155949 w 551240"/>
              <a:gd name="connsiteY28" fmla="*/ 481140 h 548893"/>
              <a:gd name="connsiteX29" fmla="*/ 485392 w 551240"/>
              <a:gd name="connsiteY29" fmla="*/ 389547 h 5488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551240" h="548893">
                <a:moveTo>
                  <a:pt x="164721" y="223225"/>
                </a:moveTo>
                <a:cubicBezTo>
                  <a:pt x="164721" y="213768"/>
                  <a:pt x="172387" y="206103"/>
                  <a:pt x="181842" y="206103"/>
                </a:cubicBezTo>
                <a:lnTo>
                  <a:pt x="366813" y="206103"/>
                </a:lnTo>
                <a:cubicBezTo>
                  <a:pt x="376268" y="206103"/>
                  <a:pt x="383934" y="213768"/>
                  <a:pt x="383934" y="223225"/>
                </a:cubicBezTo>
                <a:cubicBezTo>
                  <a:pt x="383934" y="232681"/>
                  <a:pt x="376268" y="240346"/>
                  <a:pt x="366813" y="240346"/>
                </a:cubicBezTo>
                <a:lnTo>
                  <a:pt x="181842" y="240346"/>
                </a:lnTo>
                <a:cubicBezTo>
                  <a:pt x="172387" y="240346"/>
                  <a:pt x="164721" y="232681"/>
                  <a:pt x="164721" y="223225"/>
                </a:cubicBezTo>
                <a:close/>
                <a:moveTo>
                  <a:pt x="181902" y="308488"/>
                </a:moveTo>
                <a:cubicBezTo>
                  <a:pt x="172447" y="308488"/>
                  <a:pt x="164781" y="316153"/>
                  <a:pt x="164781" y="325610"/>
                </a:cubicBezTo>
                <a:cubicBezTo>
                  <a:pt x="164781" y="335065"/>
                  <a:pt x="172447" y="342731"/>
                  <a:pt x="181902" y="342731"/>
                </a:cubicBezTo>
                <a:lnTo>
                  <a:pt x="312024" y="342731"/>
                </a:lnTo>
                <a:cubicBezTo>
                  <a:pt x="321480" y="342731"/>
                  <a:pt x="329145" y="335065"/>
                  <a:pt x="329145" y="325610"/>
                </a:cubicBezTo>
                <a:cubicBezTo>
                  <a:pt x="329145" y="316153"/>
                  <a:pt x="321480" y="308488"/>
                  <a:pt x="312024" y="308488"/>
                </a:cubicBezTo>
                <a:lnTo>
                  <a:pt x="181902" y="308488"/>
                </a:lnTo>
                <a:close/>
                <a:moveTo>
                  <a:pt x="172117" y="20523"/>
                </a:moveTo>
                <a:cubicBezTo>
                  <a:pt x="408911" y="-74241"/>
                  <a:pt x="642557" y="177159"/>
                  <a:pt x="515324" y="406177"/>
                </a:cubicBezTo>
                <a:cubicBezTo>
                  <a:pt x="457534" y="510200"/>
                  <a:pt x="313951" y="593968"/>
                  <a:pt x="146761" y="514739"/>
                </a:cubicBezTo>
                <a:lnTo>
                  <a:pt x="30553" y="547942"/>
                </a:lnTo>
                <a:cubicBezTo>
                  <a:pt x="12522" y="553093"/>
                  <a:pt x="-4141" y="536498"/>
                  <a:pt x="919" y="518451"/>
                </a:cubicBezTo>
                <a:cubicBezTo>
                  <a:pt x="7855" y="493714"/>
                  <a:pt x="24289" y="435395"/>
                  <a:pt x="33898" y="403789"/>
                </a:cubicBezTo>
                <a:cubicBezTo>
                  <a:pt x="-38166" y="275198"/>
                  <a:pt x="10427" y="85232"/>
                  <a:pt x="172117" y="20523"/>
                </a:cubicBezTo>
                <a:close/>
                <a:moveTo>
                  <a:pt x="485392" y="389547"/>
                </a:moveTo>
                <a:cubicBezTo>
                  <a:pt x="596143" y="190194"/>
                  <a:pt x="393308" y="-31114"/>
                  <a:pt x="184840" y="52314"/>
                </a:cubicBezTo>
                <a:cubicBezTo>
                  <a:pt x="41344" y="109741"/>
                  <a:pt x="-415" y="280960"/>
                  <a:pt x="67123" y="392812"/>
                </a:cubicBezTo>
                <a:lnTo>
                  <a:pt x="71108" y="399412"/>
                </a:lnTo>
                <a:lnTo>
                  <a:pt x="68809" y="406768"/>
                </a:lnTo>
                <a:cubicBezTo>
                  <a:pt x="61520" y="430093"/>
                  <a:pt x="47758" y="478456"/>
                  <a:pt x="38880" y="509949"/>
                </a:cubicBezTo>
                <a:lnTo>
                  <a:pt x="150013" y="478197"/>
                </a:lnTo>
                <a:lnTo>
                  <a:pt x="155949" y="481140"/>
                </a:lnTo>
                <a:cubicBezTo>
                  <a:pt x="306704" y="555872"/>
                  <a:pt x="434298" y="481514"/>
                  <a:pt x="485392" y="389547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1369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7" name="Graphic 97" descr="Cloud&#10;Keyword: fluent-icon, onedrive, outlook, teams;&#10;Metaphor: storage, upload, download, save, sync;&#10;&#10;Used in all stored data scenarios.">
            <a:extLst>
              <a:ext uri="{FF2B5EF4-FFF2-40B4-BE49-F238E27FC236}">
                <a16:creationId xmlns:a16="http://schemas.microsoft.com/office/drawing/2014/main" id="{4AE954CE-9696-7B1C-D905-427114C78004}"/>
              </a:ext>
            </a:extLst>
          </p:cNvPr>
          <p:cNvSpPr/>
          <p:nvPr/>
        </p:nvSpPr>
        <p:spPr>
          <a:xfrm>
            <a:off x="9100365" y="4485936"/>
            <a:ext cx="520485" cy="349272"/>
          </a:xfrm>
          <a:custGeom>
            <a:avLst/>
            <a:gdLst>
              <a:gd name="connsiteX0" fmla="*/ 110189 w 520485"/>
              <a:gd name="connsiteY0" fmla="*/ 136970 h 349272"/>
              <a:gd name="connsiteX1" fmla="*/ 260243 w 520485"/>
              <a:gd name="connsiteY1" fmla="*/ 0 h 349272"/>
              <a:gd name="connsiteX2" fmla="*/ 410296 w 520485"/>
              <a:gd name="connsiteY2" fmla="*/ 136970 h 349272"/>
              <a:gd name="connsiteX3" fmla="*/ 414334 w 520485"/>
              <a:gd name="connsiteY3" fmla="*/ 136970 h 349272"/>
              <a:gd name="connsiteX4" fmla="*/ 520485 w 520485"/>
              <a:gd name="connsiteY4" fmla="*/ 243121 h 349272"/>
              <a:gd name="connsiteX5" fmla="*/ 414334 w 520485"/>
              <a:gd name="connsiteY5" fmla="*/ 349273 h 349272"/>
              <a:gd name="connsiteX6" fmla="*/ 106152 w 520485"/>
              <a:gd name="connsiteY6" fmla="*/ 349273 h 349272"/>
              <a:gd name="connsiteX7" fmla="*/ 0 w 520485"/>
              <a:gd name="connsiteY7" fmla="*/ 243121 h 349272"/>
              <a:gd name="connsiteX8" fmla="*/ 106152 w 520485"/>
              <a:gd name="connsiteY8" fmla="*/ 136970 h 349272"/>
              <a:gd name="connsiteX9" fmla="*/ 110189 w 520485"/>
              <a:gd name="connsiteY9" fmla="*/ 136970 h 349272"/>
              <a:gd name="connsiteX10" fmla="*/ 260243 w 520485"/>
              <a:gd name="connsiteY10" fmla="*/ 34242 h 349272"/>
              <a:gd name="connsiteX11" fmla="*/ 143818 w 520485"/>
              <a:gd name="connsiteY11" fmla="*/ 150667 h 349272"/>
              <a:gd name="connsiteX12" fmla="*/ 143818 w 520485"/>
              <a:gd name="connsiteY12" fmla="*/ 154091 h 349272"/>
              <a:gd name="connsiteX13" fmla="*/ 126697 w 520485"/>
              <a:gd name="connsiteY13" fmla="*/ 171212 h 349272"/>
              <a:gd name="connsiteX14" fmla="*/ 106152 w 520485"/>
              <a:gd name="connsiteY14" fmla="*/ 171212 h 349272"/>
              <a:gd name="connsiteX15" fmla="*/ 34242 w 520485"/>
              <a:gd name="connsiteY15" fmla="*/ 243121 h 349272"/>
              <a:gd name="connsiteX16" fmla="*/ 106152 w 520485"/>
              <a:gd name="connsiteY16" fmla="*/ 315031 h 349272"/>
              <a:gd name="connsiteX17" fmla="*/ 414334 w 520485"/>
              <a:gd name="connsiteY17" fmla="*/ 315031 h 349272"/>
              <a:gd name="connsiteX18" fmla="*/ 486243 w 520485"/>
              <a:gd name="connsiteY18" fmla="*/ 243121 h 349272"/>
              <a:gd name="connsiteX19" fmla="*/ 414334 w 520485"/>
              <a:gd name="connsiteY19" fmla="*/ 171212 h 349272"/>
              <a:gd name="connsiteX20" fmla="*/ 393788 w 520485"/>
              <a:gd name="connsiteY20" fmla="*/ 171212 h 349272"/>
              <a:gd name="connsiteX21" fmla="*/ 376667 w 520485"/>
              <a:gd name="connsiteY21" fmla="*/ 154091 h 349272"/>
              <a:gd name="connsiteX22" fmla="*/ 376667 w 520485"/>
              <a:gd name="connsiteY22" fmla="*/ 150667 h 349272"/>
              <a:gd name="connsiteX23" fmla="*/ 260243 w 520485"/>
              <a:gd name="connsiteY23" fmla="*/ 34242 h 349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520485" h="349272">
                <a:moveTo>
                  <a:pt x="110189" y="136970"/>
                </a:moveTo>
                <a:cubicBezTo>
                  <a:pt x="117111" y="60178"/>
                  <a:pt x="181649" y="0"/>
                  <a:pt x="260243" y="0"/>
                </a:cubicBezTo>
                <a:cubicBezTo>
                  <a:pt x="338836" y="0"/>
                  <a:pt x="403375" y="60178"/>
                  <a:pt x="410296" y="136970"/>
                </a:cubicBezTo>
                <a:lnTo>
                  <a:pt x="414334" y="136970"/>
                </a:lnTo>
                <a:cubicBezTo>
                  <a:pt x="472959" y="136970"/>
                  <a:pt x="520485" y="184496"/>
                  <a:pt x="520485" y="243121"/>
                </a:cubicBezTo>
                <a:cubicBezTo>
                  <a:pt x="520485" y="301747"/>
                  <a:pt x="472959" y="349273"/>
                  <a:pt x="414334" y="349273"/>
                </a:cubicBezTo>
                <a:lnTo>
                  <a:pt x="106152" y="349273"/>
                </a:lnTo>
                <a:cubicBezTo>
                  <a:pt x="47526" y="349273"/>
                  <a:pt x="0" y="301747"/>
                  <a:pt x="0" y="243121"/>
                </a:cubicBezTo>
                <a:cubicBezTo>
                  <a:pt x="0" y="184496"/>
                  <a:pt x="47526" y="136970"/>
                  <a:pt x="106152" y="136970"/>
                </a:cubicBezTo>
                <a:lnTo>
                  <a:pt x="110189" y="136970"/>
                </a:lnTo>
                <a:close/>
                <a:moveTo>
                  <a:pt x="260243" y="34242"/>
                </a:moveTo>
                <a:cubicBezTo>
                  <a:pt x="195944" y="34242"/>
                  <a:pt x="143818" y="86368"/>
                  <a:pt x="143818" y="150667"/>
                </a:cubicBezTo>
                <a:lnTo>
                  <a:pt x="143818" y="154091"/>
                </a:lnTo>
                <a:cubicBezTo>
                  <a:pt x="143818" y="163547"/>
                  <a:pt x="136153" y="171212"/>
                  <a:pt x="126697" y="171212"/>
                </a:cubicBezTo>
                <a:lnTo>
                  <a:pt x="106152" y="171212"/>
                </a:lnTo>
                <a:cubicBezTo>
                  <a:pt x="66437" y="171212"/>
                  <a:pt x="34242" y="203407"/>
                  <a:pt x="34242" y="243121"/>
                </a:cubicBezTo>
                <a:cubicBezTo>
                  <a:pt x="34242" y="282836"/>
                  <a:pt x="66437" y="315031"/>
                  <a:pt x="106152" y="315031"/>
                </a:cubicBezTo>
                <a:lnTo>
                  <a:pt x="414334" y="315031"/>
                </a:lnTo>
                <a:cubicBezTo>
                  <a:pt x="454048" y="315031"/>
                  <a:pt x="486243" y="282836"/>
                  <a:pt x="486243" y="243121"/>
                </a:cubicBezTo>
                <a:cubicBezTo>
                  <a:pt x="486243" y="203407"/>
                  <a:pt x="454048" y="171212"/>
                  <a:pt x="414334" y="171212"/>
                </a:cubicBezTo>
                <a:lnTo>
                  <a:pt x="393788" y="171212"/>
                </a:lnTo>
                <a:cubicBezTo>
                  <a:pt x="384332" y="171212"/>
                  <a:pt x="376667" y="163547"/>
                  <a:pt x="376667" y="154091"/>
                </a:cubicBezTo>
                <a:lnTo>
                  <a:pt x="376667" y="150667"/>
                </a:lnTo>
                <a:cubicBezTo>
                  <a:pt x="376667" y="86368"/>
                  <a:pt x="324542" y="34242"/>
                  <a:pt x="260243" y="34242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1369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8" name="Graphic 99" descr="Cloud Check Mark&#10;Keyword: fluent-icon, onedrive, outlook, teams;&#10;Metaphor: storage, upload, download, save, sync;&#10;&#10;Used in all stored data scenarios.">
            <a:extLst>
              <a:ext uri="{FF2B5EF4-FFF2-40B4-BE49-F238E27FC236}">
                <a16:creationId xmlns:a16="http://schemas.microsoft.com/office/drawing/2014/main" id="{D610082F-E606-3803-12DE-3B2874A27CDA}"/>
              </a:ext>
            </a:extLst>
          </p:cNvPr>
          <p:cNvSpPr/>
          <p:nvPr/>
        </p:nvSpPr>
        <p:spPr>
          <a:xfrm>
            <a:off x="10032439" y="4431148"/>
            <a:ext cx="534182" cy="520485"/>
          </a:xfrm>
          <a:custGeom>
            <a:avLst/>
            <a:gdLst>
              <a:gd name="connsiteX0" fmla="*/ 110189 w 534182"/>
              <a:gd name="connsiteY0" fmla="*/ 136970 h 520485"/>
              <a:gd name="connsiteX1" fmla="*/ 260243 w 534182"/>
              <a:gd name="connsiteY1" fmla="*/ 0 h 520485"/>
              <a:gd name="connsiteX2" fmla="*/ 410296 w 534182"/>
              <a:gd name="connsiteY2" fmla="*/ 136970 h 520485"/>
              <a:gd name="connsiteX3" fmla="*/ 414334 w 534182"/>
              <a:gd name="connsiteY3" fmla="*/ 136970 h 520485"/>
              <a:gd name="connsiteX4" fmla="*/ 520485 w 534182"/>
              <a:gd name="connsiteY4" fmla="*/ 243121 h 520485"/>
              <a:gd name="connsiteX5" fmla="*/ 519803 w 534182"/>
              <a:gd name="connsiteY5" fmla="*/ 255220 h 520485"/>
              <a:gd name="connsiteX6" fmla="*/ 483161 w 534182"/>
              <a:gd name="connsiteY6" fmla="*/ 222228 h 520485"/>
              <a:gd name="connsiteX7" fmla="*/ 414334 w 534182"/>
              <a:gd name="connsiteY7" fmla="*/ 171212 h 520485"/>
              <a:gd name="connsiteX8" fmla="*/ 393788 w 534182"/>
              <a:gd name="connsiteY8" fmla="*/ 171212 h 520485"/>
              <a:gd name="connsiteX9" fmla="*/ 376667 w 534182"/>
              <a:gd name="connsiteY9" fmla="*/ 154091 h 520485"/>
              <a:gd name="connsiteX10" fmla="*/ 376667 w 534182"/>
              <a:gd name="connsiteY10" fmla="*/ 150667 h 520485"/>
              <a:gd name="connsiteX11" fmla="*/ 260243 w 534182"/>
              <a:gd name="connsiteY11" fmla="*/ 34242 h 520485"/>
              <a:gd name="connsiteX12" fmla="*/ 143818 w 534182"/>
              <a:gd name="connsiteY12" fmla="*/ 150667 h 520485"/>
              <a:gd name="connsiteX13" fmla="*/ 143818 w 534182"/>
              <a:gd name="connsiteY13" fmla="*/ 154091 h 520485"/>
              <a:gd name="connsiteX14" fmla="*/ 126697 w 534182"/>
              <a:gd name="connsiteY14" fmla="*/ 171212 h 520485"/>
              <a:gd name="connsiteX15" fmla="*/ 106152 w 534182"/>
              <a:gd name="connsiteY15" fmla="*/ 171212 h 520485"/>
              <a:gd name="connsiteX16" fmla="*/ 34242 w 534182"/>
              <a:gd name="connsiteY16" fmla="*/ 243121 h 520485"/>
              <a:gd name="connsiteX17" fmla="*/ 106152 w 534182"/>
              <a:gd name="connsiteY17" fmla="*/ 315031 h 520485"/>
              <a:gd name="connsiteX18" fmla="*/ 214043 w 534182"/>
              <a:gd name="connsiteY18" fmla="*/ 315031 h 520485"/>
              <a:gd name="connsiteX19" fmla="*/ 206627 w 534182"/>
              <a:gd name="connsiteY19" fmla="*/ 349273 h 520485"/>
              <a:gd name="connsiteX20" fmla="*/ 106152 w 534182"/>
              <a:gd name="connsiteY20" fmla="*/ 349273 h 520485"/>
              <a:gd name="connsiteX21" fmla="*/ 0 w 534182"/>
              <a:gd name="connsiteY21" fmla="*/ 243121 h 520485"/>
              <a:gd name="connsiteX22" fmla="*/ 106152 w 534182"/>
              <a:gd name="connsiteY22" fmla="*/ 136970 h 520485"/>
              <a:gd name="connsiteX23" fmla="*/ 110189 w 534182"/>
              <a:gd name="connsiteY23" fmla="*/ 136970 h 520485"/>
              <a:gd name="connsiteX24" fmla="*/ 534182 w 534182"/>
              <a:gd name="connsiteY24" fmla="*/ 369818 h 520485"/>
              <a:gd name="connsiteX25" fmla="*/ 383515 w 534182"/>
              <a:gd name="connsiteY25" fmla="*/ 520485 h 520485"/>
              <a:gd name="connsiteX26" fmla="*/ 232849 w 534182"/>
              <a:gd name="connsiteY26" fmla="*/ 369818 h 520485"/>
              <a:gd name="connsiteX27" fmla="*/ 383515 w 534182"/>
              <a:gd name="connsiteY27" fmla="*/ 219152 h 520485"/>
              <a:gd name="connsiteX28" fmla="*/ 534182 w 534182"/>
              <a:gd name="connsiteY28" fmla="*/ 369818 h 520485"/>
              <a:gd name="connsiteX29" fmla="*/ 456012 w 534182"/>
              <a:gd name="connsiteY29" fmla="*/ 305345 h 520485"/>
              <a:gd name="connsiteX30" fmla="*/ 356121 w 534182"/>
              <a:gd name="connsiteY30" fmla="*/ 405236 h 520485"/>
              <a:gd name="connsiteX31" fmla="*/ 311019 w 534182"/>
              <a:gd name="connsiteY31" fmla="*/ 360133 h 520485"/>
              <a:gd name="connsiteX32" fmla="*/ 291648 w 534182"/>
              <a:gd name="connsiteY32" fmla="*/ 360133 h 520485"/>
              <a:gd name="connsiteX33" fmla="*/ 291648 w 534182"/>
              <a:gd name="connsiteY33" fmla="*/ 379504 h 520485"/>
              <a:gd name="connsiteX34" fmla="*/ 346436 w 534182"/>
              <a:gd name="connsiteY34" fmla="*/ 434292 h 520485"/>
              <a:gd name="connsiteX35" fmla="*/ 365807 w 534182"/>
              <a:gd name="connsiteY35" fmla="*/ 434292 h 520485"/>
              <a:gd name="connsiteX36" fmla="*/ 475382 w 534182"/>
              <a:gd name="connsiteY36" fmla="*/ 324716 h 520485"/>
              <a:gd name="connsiteX37" fmla="*/ 475382 w 534182"/>
              <a:gd name="connsiteY37" fmla="*/ 305345 h 520485"/>
              <a:gd name="connsiteX38" fmla="*/ 456012 w 534182"/>
              <a:gd name="connsiteY38" fmla="*/ 305345 h 520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534182" h="520485">
                <a:moveTo>
                  <a:pt x="110189" y="136970"/>
                </a:moveTo>
                <a:cubicBezTo>
                  <a:pt x="117111" y="60178"/>
                  <a:pt x="181649" y="0"/>
                  <a:pt x="260243" y="0"/>
                </a:cubicBezTo>
                <a:cubicBezTo>
                  <a:pt x="338836" y="0"/>
                  <a:pt x="403375" y="60178"/>
                  <a:pt x="410296" y="136970"/>
                </a:cubicBezTo>
                <a:lnTo>
                  <a:pt x="414334" y="136970"/>
                </a:lnTo>
                <a:cubicBezTo>
                  <a:pt x="472959" y="136970"/>
                  <a:pt x="520485" y="184496"/>
                  <a:pt x="520485" y="243121"/>
                </a:cubicBezTo>
                <a:cubicBezTo>
                  <a:pt x="520485" y="247213"/>
                  <a:pt x="520254" y="251249"/>
                  <a:pt x="519803" y="255220"/>
                </a:cubicBezTo>
                <a:cubicBezTo>
                  <a:pt x="509188" y="242609"/>
                  <a:pt x="496852" y="231491"/>
                  <a:pt x="483161" y="222228"/>
                </a:cubicBezTo>
                <a:cubicBezTo>
                  <a:pt x="474210" y="192704"/>
                  <a:pt x="446782" y="171212"/>
                  <a:pt x="414334" y="171212"/>
                </a:cubicBezTo>
                <a:lnTo>
                  <a:pt x="393788" y="171212"/>
                </a:lnTo>
                <a:cubicBezTo>
                  <a:pt x="384332" y="171212"/>
                  <a:pt x="376667" y="163547"/>
                  <a:pt x="376667" y="154091"/>
                </a:cubicBezTo>
                <a:lnTo>
                  <a:pt x="376667" y="150667"/>
                </a:lnTo>
                <a:cubicBezTo>
                  <a:pt x="376667" y="86368"/>
                  <a:pt x="324542" y="34242"/>
                  <a:pt x="260243" y="34242"/>
                </a:cubicBezTo>
                <a:cubicBezTo>
                  <a:pt x="195944" y="34242"/>
                  <a:pt x="143818" y="86368"/>
                  <a:pt x="143818" y="150667"/>
                </a:cubicBezTo>
                <a:lnTo>
                  <a:pt x="143818" y="154091"/>
                </a:lnTo>
                <a:cubicBezTo>
                  <a:pt x="143818" y="163547"/>
                  <a:pt x="136153" y="171212"/>
                  <a:pt x="126697" y="171212"/>
                </a:cubicBezTo>
                <a:lnTo>
                  <a:pt x="106152" y="171212"/>
                </a:lnTo>
                <a:cubicBezTo>
                  <a:pt x="66437" y="171212"/>
                  <a:pt x="34242" y="203407"/>
                  <a:pt x="34242" y="243121"/>
                </a:cubicBezTo>
                <a:cubicBezTo>
                  <a:pt x="34242" y="282836"/>
                  <a:pt x="66437" y="315031"/>
                  <a:pt x="106152" y="315031"/>
                </a:cubicBezTo>
                <a:lnTo>
                  <a:pt x="214043" y="315031"/>
                </a:lnTo>
                <a:cubicBezTo>
                  <a:pt x="210494" y="326017"/>
                  <a:pt x="207983" y="337469"/>
                  <a:pt x="206627" y="349273"/>
                </a:cubicBezTo>
                <a:lnTo>
                  <a:pt x="106152" y="349273"/>
                </a:lnTo>
                <a:cubicBezTo>
                  <a:pt x="47526" y="349273"/>
                  <a:pt x="0" y="301747"/>
                  <a:pt x="0" y="243121"/>
                </a:cubicBezTo>
                <a:cubicBezTo>
                  <a:pt x="0" y="184496"/>
                  <a:pt x="47526" y="136970"/>
                  <a:pt x="106152" y="136970"/>
                </a:cubicBezTo>
                <a:lnTo>
                  <a:pt x="110189" y="136970"/>
                </a:lnTo>
                <a:close/>
                <a:moveTo>
                  <a:pt x="534182" y="369818"/>
                </a:moveTo>
                <a:cubicBezTo>
                  <a:pt x="534182" y="453029"/>
                  <a:pt x="466726" y="520485"/>
                  <a:pt x="383515" y="520485"/>
                </a:cubicBezTo>
                <a:cubicBezTo>
                  <a:pt x="300305" y="520485"/>
                  <a:pt x="232849" y="453029"/>
                  <a:pt x="232849" y="369818"/>
                </a:cubicBezTo>
                <a:cubicBezTo>
                  <a:pt x="232849" y="286608"/>
                  <a:pt x="300305" y="219152"/>
                  <a:pt x="383515" y="219152"/>
                </a:cubicBezTo>
                <a:cubicBezTo>
                  <a:pt x="466726" y="219152"/>
                  <a:pt x="534182" y="286608"/>
                  <a:pt x="534182" y="369818"/>
                </a:cubicBezTo>
                <a:close/>
                <a:moveTo>
                  <a:pt x="456012" y="305345"/>
                </a:moveTo>
                <a:lnTo>
                  <a:pt x="356121" y="405236"/>
                </a:lnTo>
                <a:lnTo>
                  <a:pt x="311019" y="360133"/>
                </a:lnTo>
                <a:cubicBezTo>
                  <a:pt x="305670" y="354785"/>
                  <a:pt x="296997" y="354785"/>
                  <a:pt x="291648" y="360133"/>
                </a:cubicBezTo>
                <a:cubicBezTo>
                  <a:pt x="286300" y="365482"/>
                  <a:pt x="286300" y="374155"/>
                  <a:pt x="291648" y="379504"/>
                </a:cubicBezTo>
                <a:lnTo>
                  <a:pt x="346436" y="434292"/>
                </a:lnTo>
                <a:cubicBezTo>
                  <a:pt x="351785" y="439640"/>
                  <a:pt x="360458" y="439640"/>
                  <a:pt x="365807" y="434292"/>
                </a:cubicBezTo>
                <a:lnTo>
                  <a:pt x="475382" y="324716"/>
                </a:lnTo>
                <a:cubicBezTo>
                  <a:pt x="480731" y="319367"/>
                  <a:pt x="480731" y="310694"/>
                  <a:pt x="475382" y="305345"/>
                </a:cubicBezTo>
                <a:cubicBezTo>
                  <a:pt x="470034" y="299997"/>
                  <a:pt x="461361" y="299997"/>
                  <a:pt x="456012" y="305345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1369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9" name="Graphic 101" descr="Contact Card&#10;Keyword: fluent-icon;&#10;Metaphor: person, profile, details, organization, people card;&#10;&#10;Used for directional indicators, links. Contains directional variants.">
            <a:extLst>
              <a:ext uri="{FF2B5EF4-FFF2-40B4-BE49-F238E27FC236}">
                <a16:creationId xmlns:a16="http://schemas.microsoft.com/office/drawing/2014/main" id="{A3F355A2-3FE0-CD69-2778-FE7A77F1FE13}"/>
              </a:ext>
            </a:extLst>
          </p:cNvPr>
          <p:cNvSpPr/>
          <p:nvPr/>
        </p:nvSpPr>
        <p:spPr>
          <a:xfrm>
            <a:off x="10958253" y="4458542"/>
            <a:ext cx="547879" cy="438303"/>
          </a:xfrm>
          <a:custGeom>
            <a:avLst/>
            <a:gdLst>
              <a:gd name="connsiteX0" fmla="*/ 205455 w 547879"/>
              <a:gd name="connsiteY0" fmla="*/ 164364 h 438303"/>
              <a:gd name="connsiteX1" fmla="*/ 164364 w 547879"/>
              <a:gd name="connsiteY1" fmla="*/ 205455 h 438303"/>
              <a:gd name="connsiteX2" fmla="*/ 123273 w 547879"/>
              <a:gd name="connsiteY2" fmla="*/ 164364 h 438303"/>
              <a:gd name="connsiteX3" fmla="*/ 164364 w 547879"/>
              <a:gd name="connsiteY3" fmla="*/ 123273 h 438303"/>
              <a:gd name="connsiteX4" fmla="*/ 205455 w 547879"/>
              <a:gd name="connsiteY4" fmla="*/ 164364 h 438303"/>
              <a:gd name="connsiteX5" fmla="*/ 95879 w 547879"/>
              <a:gd name="connsiteY5" fmla="*/ 253394 h 438303"/>
              <a:gd name="connsiteX6" fmla="*/ 116424 w 547879"/>
              <a:gd name="connsiteY6" fmla="*/ 232849 h 438303"/>
              <a:gd name="connsiteX7" fmla="*/ 212303 w 547879"/>
              <a:gd name="connsiteY7" fmla="*/ 232849 h 438303"/>
              <a:gd name="connsiteX8" fmla="*/ 232849 w 547879"/>
              <a:gd name="connsiteY8" fmla="*/ 253394 h 438303"/>
              <a:gd name="connsiteX9" fmla="*/ 232849 w 547879"/>
              <a:gd name="connsiteY9" fmla="*/ 260243 h 438303"/>
              <a:gd name="connsiteX10" fmla="*/ 164364 w 547879"/>
              <a:gd name="connsiteY10" fmla="*/ 315031 h 438303"/>
              <a:gd name="connsiteX11" fmla="*/ 95879 w 547879"/>
              <a:gd name="connsiteY11" fmla="*/ 260243 h 438303"/>
              <a:gd name="connsiteX12" fmla="*/ 95879 w 547879"/>
              <a:gd name="connsiteY12" fmla="*/ 253394 h 438303"/>
              <a:gd name="connsiteX13" fmla="*/ 287637 w 547879"/>
              <a:gd name="connsiteY13" fmla="*/ 167788 h 438303"/>
              <a:gd name="connsiteX14" fmla="*/ 304758 w 547879"/>
              <a:gd name="connsiteY14" fmla="*/ 150667 h 438303"/>
              <a:gd name="connsiteX15" fmla="*/ 434879 w 547879"/>
              <a:gd name="connsiteY15" fmla="*/ 150667 h 438303"/>
              <a:gd name="connsiteX16" fmla="*/ 452000 w 547879"/>
              <a:gd name="connsiteY16" fmla="*/ 167788 h 438303"/>
              <a:gd name="connsiteX17" fmla="*/ 434879 w 547879"/>
              <a:gd name="connsiteY17" fmla="*/ 184909 h 438303"/>
              <a:gd name="connsiteX18" fmla="*/ 304758 w 547879"/>
              <a:gd name="connsiteY18" fmla="*/ 184909 h 438303"/>
              <a:gd name="connsiteX19" fmla="*/ 287637 w 547879"/>
              <a:gd name="connsiteY19" fmla="*/ 167788 h 438303"/>
              <a:gd name="connsiteX20" fmla="*/ 304758 w 547879"/>
              <a:gd name="connsiteY20" fmla="*/ 246546 h 438303"/>
              <a:gd name="connsiteX21" fmla="*/ 287637 w 547879"/>
              <a:gd name="connsiteY21" fmla="*/ 263667 h 438303"/>
              <a:gd name="connsiteX22" fmla="*/ 304758 w 547879"/>
              <a:gd name="connsiteY22" fmla="*/ 280788 h 438303"/>
              <a:gd name="connsiteX23" fmla="*/ 434879 w 547879"/>
              <a:gd name="connsiteY23" fmla="*/ 280788 h 438303"/>
              <a:gd name="connsiteX24" fmla="*/ 452000 w 547879"/>
              <a:gd name="connsiteY24" fmla="*/ 263667 h 438303"/>
              <a:gd name="connsiteX25" fmla="*/ 434879 w 547879"/>
              <a:gd name="connsiteY25" fmla="*/ 246546 h 438303"/>
              <a:gd name="connsiteX26" fmla="*/ 304758 w 547879"/>
              <a:gd name="connsiteY26" fmla="*/ 246546 h 438303"/>
              <a:gd name="connsiteX27" fmla="*/ 0 w 547879"/>
              <a:gd name="connsiteY27" fmla="*/ 58212 h 438303"/>
              <a:gd name="connsiteX28" fmla="*/ 58212 w 547879"/>
              <a:gd name="connsiteY28" fmla="*/ 0 h 438303"/>
              <a:gd name="connsiteX29" fmla="*/ 489667 w 547879"/>
              <a:gd name="connsiteY29" fmla="*/ 0 h 438303"/>
              <a:gd name="connsiteX30" fmla="*/ 547879 w 547879"/>
              <a:gd name="connsiteY30" fmla="*/ 58212 h 438303"/>
              <a:gd name="connsiteX31" fmla="*/ 547879 w 547879"/>
              <a:gd name="connsiteY31" fmla="*/ 380091 h 438303"/>
              <a:gd name="connsiteX32" fmla="*/ 489667 w 547879"/>
              <a:gd name="connsiteY32" fmla="*/ 438303 h 438303"/>
              <a:gd name="connsiteX33" fmla="*/ 58212 w 547879"/>
              <a:gd name="connsiteY33" fmla="*/ 438303 h 438303"/>
              <a:gd name="connsiteX34" fmla="*/ 0 w 547879"/>
              <a:gd name="connsiteY34" fmla="*/ 380091 h 438303"/>
              <a:gd name="connsiteX35" fmla="*/ 0 w 547879"/>
              <a:gd name="connsiteY35" fmla="*/ 58212 h 438303"/>
              <a:gd name="connsiteX36" fmla="*/ 58212 w 547879"/>
              <a:gd name="connsiteY36" fmla="*/ 34242 h 438303"/>
              <a:gd name="connsiteX37" fmla="*/ 34242 w 547879"/>
              <a:gd name="connsiteY37" fmla="*/ 58212 h 438303"/>
              <a:gd name="connsiteX38" fmla="*/ 34242 w 547879"/>
              <a:gd name="connsiteY38" fmla="*/ 380091 h 438303"/>
              <a:gd name="connsiteX39" fmla="*/ 58212 w 547879"/>
              <a:gd name="connsiteY39" fmla="*/ 404061 h 438303"/>
              <a:gd name="connsiteX40" fmla="*/ 489667 w 547879"/>
              <a:gd name="connsiteY40" fmla="*/ 404061 h 438303"/>
              <a:gd name="connsiteX41" fmla="*/ 513637 w 547879"/>
              <a:gd name="connsiteY41" fmla="*/ 380091 h 438303"/>
              <a:gd name="connsiteX42" fmla="*/ 513637 w 547879"/>
              <a:gd name="connsiteY42" fmla="*/ 58212 h 438303"/>
              <a:gd name="connsiteX43" fmla="*/ 489667 w 547879"/>
              <a:gd name="connsiteY43" fmla="*/ 34242 h 438303"/>
              <a:gd name="connsiteX44" fmla="*/ 58212 w 547879"/>
              <a:gd name="connsiteY44" fmla="*/ 34242 h 438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547879" h="438303">
                <a:moveTo>
                  <a:pt x="205455" y="164364"/>
                </a:moveTo>
                <a:cubicBezTo>
                  <a:pt x="205455" y="187058"/>
                  <a:pt x="187058" y="205455"/>
                  <a:pt x="164364" y="205455"/>
                </a:cubicBezTo>
                <a:cubicBezTo>
                  <a:pt x="141669" y="205455"/>
                  <a:pt x="123273" y="187058"/>
                  <a:pt x="123273" y="164364"/>
                </a:cubicBezTo>
                <a:cubicBezTo>
                  <a:pt x="123273" y="141669"/>
                  <a:pt x="141669" y="123273"/>
                  <a:pt x="164364" y="123273"/>
                </a:cubicBezTo>
                <a:cubicBezTo>
                  <a:pt x="187058" y="123273"/>
                  <a:pt x="205455" y="141669"/>
                  <a:pt x="205455" y="164364"/>
                </a:cubicBezTo>
                <a:close/>
                <a:moveTo>
                  <a:pt x="95879" y="253394"/>
                </a:moveTo>
                <a:cubicBezTo>
                  <a:pt x="95879" y="242048"/>
                  <a:pt x="105078" y="232849"/>
                  <a:pt x="116424" y="232849"/>
                </a:cubicBezTo>
                <a:lnTo>
                  <a:pt x="212303" y="232849"/>
                </a:lnTo>
                <a:cubicBezTo>
                  <a:pt x="223650" y="232849"/>
                  <a:pt x="232849" y="242048"/>
                  <a:pt x="232849" y="253394"/>
                </a:cubicBezTo>
                <a:lnTo>
                  <a:pt x="232849" y="260243"/>
                </a:lnTo>
                <a:cubicBezTo>
                  <a:pt x="232849" y="260243"/>
                  <a:pt x="232849" y="315031"/>
                  <a:pt x="164364" y="315031"/>
                </a:cubicBezTo>
                <a:cubicBezTo>
                  <a:pt x="95879" y="315031"/>
                  <a:pt x="95879" y="260243"/>
                  <a:pt x="95879" y="260243"/>
                </a:cubicBezTo>
                <a:lnTo>
                  <a:pt x="95879" y="253394"/>
                </a:lnTo>
                <a:close/>
                <a:moveTo>
                  <a:pt x="287637" y="167788"/>
                </a:moveTo>
                <a:cubicBezTo>
                  <a:pt x="287637" y="158332"/>
                  <a:pt x="295301" y="150667"/>
                  <a:pt x="304758" y="150667"/>
                </a:cubicBezTo>
                <a:lnTo>
                  <a:pt x="434879" y="150667"/>
                </a:lnTo>
                <a:cubicBezTo>
                  <a:pt x="444335" y="150667"/>
                  <a:pt x="452000" y="158332"/>
                  <a:pt x="452000" y="167788"/>
                </a:cubicBezTo>
                <a:cubicBezTo>
                  <a:pt x="452000" y="177244"/>
                  <a:pt x="444335" y="184909"/>
                  <a:pt x="434879" y="184909"/>
                </a:cubicBezTo>
                <a:lnTo>
                  <a:pt x="304758" y="184909"/>
                </a:lnTo>
                <a:cubicBezTo>
                  <a:pt x="295301" y="184909"/>
                  <a:pt x="287637" y="177244"/>
                  <a:pt x="287637" y="167788"/>
                </a:cubicBezTo>
                <a:close/>
                <a:moveTo>
                  <a:pt x="304758" y="246546"/>
                </a:moveTo>
                <a:cubicBezTo>
                  <a:pt x="295301" y="246546"/>
                  <a:pt x="287637" y="254210"/>
                  <a:pt x="287637" y="263667"/>
                </a:cubicBezTo>
                <a:cubicBezTo>
                  <a:pt x="287637" y="273123"/>
                  <a:pt x="295301" y="280788"/>
                  <a:pt x="304758" y="280788"/>
                </a:cubicBezTo>
                <a:lnTo>
                  <a:pt x="434879" y="280788"/>
                </a:lnTo>
                <a:cubicBezTo>
                  <a:pt x="444335" y="280788"/>
                  <a:pt x="452000" y="273123"/>
                  <a:pt x="452000" y="263667"/>
                </a:cubicBezTo>
                <a:cubicBezTo>
                  <a:pt x="452000" y="254210"/>
                  <a:pt x="444335" y="246546"/>
                  <a:pt x="434879" y="246546"/>
                </a:cubicBezTo>
                <a:lnTo>
                  <a:pt x="304758" y="246546"/>
                </a:lnTo>
                <a:close/>
                <a:moveTo>
                  <a:pt x="0" y="58212"/>
                </a:moveTo>
                <a:cubicBezTo>
                  <a:pt x="0" y="26062"/>
                  <a:pt x="26062" y="0"/>
                  <a:pt x="58212" y="0"/>
                </a:cubicBezTo>
                <a:lnTo>
                  <a:pt x="489667" y="0"/>
                </a:lnTo>
                <a:cubicBezTo>
                  <a:pt x="521817" y="0"/>
                  <a:pt x="547879" y="26062"/>
                  <a:pt x="547879" y="58212"/>
                </a:cubicBezTo>
                <a:lnTo>
                  <a:pt x="547879" y="380091"/>
                </a:lnTo>
                <a:cubicBezTo>
                  <a:pt x="547879" y="412241"/>
                  <a:pt x="521817" y="438303"/>
                  <a:pt x="489667" y="438303"/>
                </a:cubicBezTo>
                <a:lnTo>
                  <a:pt x="58212" y="438303"/>
                </a:lnTo>
                <a:cubicBezTo>
                  <a:pt x="26062" y="438303"/>
                  <a:pt x="0" y="412241"/>
                  <a:pt x="0" y="380091"/>
                </a:cubicBezTo>
                <a:lnTo>
                  <a:pt x="0" y="58212"/>
                </a:lnTo>
                <a:close/>
                <a:moveTo>
                  <a:pt x="58212" y="34242"/>
                </a:moveTo>
                <a:cubicBezTo>
                  <a:pt x="44974" y="34242"/>
                  <a:pt x="34242" y="44974"/>
                  <a:pt x="34242" y="58212"/>
                </a:cubicBezTo>
                <a:lnTo>
                  <a:pt x="34242" y="380091"/>
                </a:lnTo>
                <a:cubicBezTo>
                  <a:pt x="34242" y="393329"/>
                  <a:pt x="44974" y="404061"/>
                  <a:pt x="58212" y="404061"/>
                </a:cubicBezTo>
                <a:lnTo>
                  <a:pt x="489667" y="404061"/>
                </a:lnTo>
                <a:cubicBezTo>
                  <a:pt x="502905" y="404061"/>
                  <a:pt x="513637" y="393329"/>
                  <a:pt x="513637" y="380091"/>
                </a:cubicBezTo>
                <a:lnTo>
                  <a:pt x="513637" y="58212"/>
                </a:lnTo>
                <a:cubicBezTo>
                  <a:pt x="513637" y="44974"/>
                  <a:pt x="502905" y="34242"/>
                  <a:pt x="489667" y="34242"/>
                </a:cubicBezTo>
                <a:lnTo>
                  <a:pt x="58212" y="34242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1369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10" name="Graphic 55" descr="Camera Dome">
            <a:extLst>
              <a:ext uri="{FF2B5EF4-FFF2-40B4-BE49-F238E27FC236}">
                <a16:creationId xmlns:a16="http://schemas.microsoft.com/office/drawing/2014/main" id="{8DE3E822-8ADC-DB6C-9E31-8B30A08A5357}"/>
              </a:ext>
            </a:extLst>
          </p:cNvPr>
          <p:cNvSpPr/>
          <p:nvPr/>
        </p:nvSpPr>
        <p:spPr>
          <a:xfrm>
            <a:off x="1630201" y="5660932"/>
            <a:ext cx="547879" cy="547879"/>
          </a:xfrm>
          <a:custGeom>
            <a:avLst/>
            <a:gdLst>
              <a:gd name="connsiteX0" fmla="*/ 0 w 547879"/>
              <a:gd name="connsiteY0" fmla="*/ 44515 h 547879"/>
              <a:gd name="connsiteX1" fmla="*/ 44515 w 547879"/>
              <a:gd name="connsiteY1" fmla="*/ 0 h 547879"/>
              <a:gd name="connsiteX2" fmla="*/ 503364 w 547879"/>
              <a:gd name="connsiteY2" fmla="*/ 0 h 547879"/>
              <a:gd name="connsiteX3" fmla="*/ 547879 w 547879"/>
              <a:gd name="connsiteY3" fmla="*/ 44515 h 547879"/>
              <a:gd name="connsiteX4" fmla="*/ 547879 w 547879"/>
              <a:gd name="connsiteY4" fmla="*/ 78758 h 547879"/>
              <a:gd name="connsiteX5" fmla="*/ 520485 w 547879"/>
              <a:gd name="connsiteY5" fmla="*/ 119861 h 547879"/>
              <a:gd name="connsiteX6" fmla="*/ 520485 w 547879"/>
              <a:gd name="connsiteY6" fmla="*/ 301334 h 547879"/>
              <a:gd name="connsiteX7" fmla="*/ 273940 w 547879"/>
              <a:gd name="connsiteY7" fmla="*/ 547879 h 547879"/>
              <a:gd name="connsiteX8" fmla="*/ 27394 w 547879"/>
              <a:gd name="connsiteY8" fmla="*/ 301334 h 547879"/>
              <a:gd name="connsiteX9" fmla="*/ 27394 w 547879"/>
              <a:gd name="connsiteY9" fmla="*/ 119861 h 547879"/>
              <a:gd name="connsiteX10" fmla="*/ 0 w 547879"/>
              <a:gd name="connsiteY10" fmla="*/ 78758 h 547879"/>
              <a:gd name="connsiteX11" fmla="*/ 0 w 547879"/>
              <a:gd name="connsiteY11" fmla="*/ 44515 h 547879"/>
              <a:gd name="connsiteX12" fmla="*/ 61636 w 547879"/>
              <a:gd name="connsiteY12" fmla="*/ 123273 h 547879"/>
              <a:gd name="connsiteX13" fmla="*/ 61636 w 547879"/>
              <a:gd name="connsiteY13" fmla="*/ 301334 h 547879"/>
              <a:gd name="connsiteX14" fmla="*/ 273940 w 547879"/>
              <a:gd name="connsiteY14" fmla="*/ 513637 h 547879"/>
              <a:gd name="connsiteX15" fmla="*/ 486243 w 547879"/>
              <a:gd name="connsiteY15" fmla="*/ 301334 h 547879"/>
              <a:gd name="connsiteX16" fmla="*/ 486243 w 547879"/>
              <a:gd name="connsiteY16" fmla="*/ 123273 h 547879"/>
              <a:gd name="connsiteX17" fmla="*/ 61636 w 547879"/>
              <a:gd name="connsiteY17" fmla="*/ 123273 h 547879"/>
              <a:gd name="connsiteX18" fmla="*/ 513637 w 547879"/>
              <a:gd name="connsiteY18" fmla="*/ 78758 h 547879"/>
              <a:gd name="connsiteX19" fmla="*/ 513637 w 547879"/>
              <a:gd name="connsiteY19" fmla="*/ 44515 h 547879"/>
              <a:gd name="connsiteX20" fmla="*/ 503364 w 547879"/>
              <a:gd name="connsiteY20" fmla="*/ 34242 h 547879"/>
              <a:gd name="connsiteX21" fmla="*/ 44515 w 547879"/>
              <a:gd name="connsiteY21" fmla="*/ 34242 h 547879"/>
              <a:gd name="connsiteX22" fmla="*/ 34242 w 547879"/>
              <a:gd name="connsiteY22" fmla="*/ 44515 h 547879"/>
              <a:gd name="connsiteX23" fmla="*/ 34242 w 547879"/>
              <a:gd name="connsiteY23" fmla="*/ 78758 h 547879"/>
              <a:gd name="connsiteX24" fmla="*/ 44515 w 547879"/>
              <a:gd name="connsiteY24" fmla="*/ 89030 h 547879"/>
              <a:gd name="connsiteX25" fmla="*/ 503364 w 547879"/>
              <a:gd name="connsiteY25" fmla="*/ 89030 h 547879"/>
              <a:gd name="connsiteX26" fmla="*/ 513637 w 547879"/>
              <a:gd name="connsiteY26" fmla="*/ 78758 h 547879"/>
              <a:gd name="connsiteX27" fmla="*/ 157515 w 547879"/>
              <a:gd name="connsiteY27" fmla="*/ 315031 h 547879"/>
              <a:gd name="connsiteX28" fmla="*/ 273940 w 547879"/>
              <a:gd name="connsiteY28" fmla="*/ 198606 h 547879"/>
              <a:gd name="connsiteX29" fmla="*/ 390364 w 547879"/>
              <a:gd name="connsiteY29" fmla="*/ 315031 h 547879"/>
              <a:gd name="connsiteX30" fmla="*/ 273940 w 547879"/>
              <a:gd name="connsiteY30" fmla="*/ 431455 h 547879"/>
              <a:gd name="connsiteX31" fmla="*/ 157515 w 547879"/>
              <a:gd name="connsiteY31" fmla="*/ 315031 h 547879"/>
              <a:gd name="connsiteX32" fmla="*/ 273940 w 547879"/>
              <a:gd name="connsiteY32" fmla="*/ 164364 h 547879"/>
              <a:gd name="connsiteX33" fmla="*/ 123273 w 547879"/>
              <a:gd name="connsiteY33" fmla="*/ 315031 h 547879"/>
              <a:gd name="connsiteX34" fmla="*/ 273940 w 547879"/>
              <a:gd name="connsiteY34" fmla="*/ 465697 h 547879"/>
              <a:gd name="connsiteX35" fmla="*/ 424606 w 547879"/>
              <a:gd name="connsiteY35" fmla="*/ 315031 h 547879"/>
              <a:gd name="connsiteX36" fmla="*/ 273940 w 547879"/>
              <a:gd name="connsiteY36" fmla="*/ 164364 h 547879"/>
              <a:gd name="connsiteX37" fmla="*/ 191758 w 547879"/>
              <a:gd name="connsiteY37" fmla="*/ 315031 h 547879"/>
              <a:gd name="connsiteX38" fmla="*/ 273940 w 547879"/>
              <a:gd name="connsiteY38" fmla="*/ 232849 h 547879"/>
              <a:gd name="connsiteX39" fmla="*/ 356121 w 547879"/>
              <a:gd name="connsiteY39" fmla="*/ 315031 h 547879"/>
              <a:gd name="connsiteX40" fmla="*/ 273940 w 547879"/>
              <a:gd name="connsiteY40" fmla="*/ 397212 h 547879"/>
              <a:gd name="connsiteX41" fmla="*/ 191758 w 547879"/>
              <a:gd name="connsiteY41" fmla="*/ 315031 h 547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547879" h="547879">
                <a:moveTo>
                  <a:pt x="0" y="44515"/>
                </a:moveTo>
                <a:cubicBezTo>
                  <a:pt x="0" y="19930"/>
                  <a:pt x="19930" y="0"/>
                  <a:pt x="44515" y="0"/>
                </a:cubicBezTo>
                <a:lnTo>
                  <a:pt x="503364" y="0"/>
                </a:lnTo>
                <a:cubicBezTo>
                  <a:pt x="527949" y="0"/>
                  <a:pt x="547879" y="19930"/>
                  <a:pt x="547879" y="44515"/>
                </a:cubicBezTo>
                <a:lnTo>
                  <a:pt x="547879" y="78758"/>
                </a:lnTo>
                <a:cubicBezTo>
                  <a:pt x="547879" y="97276"/>
                  <a:pt x="536572" y="113152"/>
                  <a:pt x="520485" y="119861"/>
                </a:cubicBezTo>
                <a:lnTo>
                  <a:pt x="520485" y="301334"/>
                </a:lnTo>
                <a:cubicBezTo>
                  <a:pt x="520485" y="437497"/>
                  <a:pt x="410103" y="547879"/>
                  <a:pt x="273940" y="547879"/>
                </a:cubicBezTo>
                <a:cubicBezTo>
                  <a:pt x="137777" y="547879"/>
                  <a:pt x="27394" y="437497"/>
                  <a:pt x="27394" y="301334"/>
                </a:cubicBezTo>
                <a:lnTo>
                  <a:pt x="27394" y="119861"/>
                </a:lnTo>
                <a:cubicBezTo>
                  <a:pt x="11307" y="113152"/>
                  <a:pt x="0" y="97276"/>
                  <a:pt x="0" y="78758"/>
                </a:cubicBezTo>
                <a:lnTo>
                  <a:pt x="0" y="44515"/>
                </a:lnTo>
                <a:close/>
                <a:moveTo>
                  <a:pt x="61636" y="123273"/>
                </a:moveTo>
                <a:lnTo>
                  <a:pt x="61636" y="301334"/>
                </a:lnTo>
                <a:cubicBezTo>
                  <a:pt x="61636" y="418585"/>
                  <a:pt x="156688" y="513637"/>
                  <a:pt x="273940" y="513637"/>
                </a:cubicBezTo>
                <a:cubicBezTo>
                  <a:pt x="391191" y="513637"/>
                  <a:pt x="486243" y="418585"/>
                  <a:pt x="486243" y="301334"/>
                </a:cubicBezTo>
                <a:lnTo>
                  <a:pt x="486243" y="123273"/>
                </a:lnTo>
                <a:lnTo>
                  <a:pt x="61636" y="123273"/>
                </a:lnTo>
                <a:close/>
                <a:moveTo>
                  <a:pt x="513637" y="78758"/>
                </a:moveTo>
                <a:lnTo>
                  <a:pt x="513637" y="44515"/>
                </a:lnTo>
                <a:cubicBezTo>
                  <a:pt x="513637" y="38842"/>
                  <a:pt x="509037" y="34242"/>
                  <a:pt x="503364" y="34242"/>
                </a:cubicBezTo>
                <a:lnTo>
                  <a:pt x="44515" y="34242"/>
                </a:lnTo>
                <a:cubicBezTo>
                  <a:pt x="38842" y="34242"/>
                  <a:pt x="34242" y="38842"/>
                  <a:pt x="34242" y="44515"/>
                </a:cubicBezTo>
                <a:lnTo>
                  <a:pt x="34242" y="78758"/>
                </a:lnTo>
                <a:cubicBezTo>
                  <a:pt x="34242" y="84431"/>
                  <a:pt x="38842" y="89030"/>
                  <a:pt x="44515" y="89030"/>
                </a:cubicBezTo>
                <a:lnTo>
                  <a:pt x="503364" y="89030"/>
                </a:lnTo>
                <a:cubicBezTo>
                  <a:pt x="509037" y="89030"/>
                  <a:pt x="513637" y="84431"/>
                  <a:pt x="513637" y="78758"/>
                </a:cubicBezTo>
                <a:close/>
                <a:moveTo>
                  <a:pt x="157515" y="315031"/>
                </a:moveTo>
                <a:cubicBezTo>
                  <a:pt x="157515" y="250731"/>
                  <a:pt x="209640" y="198606"/>
                  <a:pt x="273940" y="198606"/>
                </a:cubicBezTo>
                <a:cubicBezTo>
                  <a:pt x="338239" y="198606"/>
                  <a:pt x="390364" y="250731"/>
                  <a:pt x="390364" y="315031"/>
                </a:cubicBezTo>
                <a:cubicBezTo>
                  <a:pt x="390364" y="379330"/>
                  <a:pt x="338239" y="431455"/>
                  <a:pt x="273940" y="431455"/>
                </a:cubicBezTo>
                <a:cubicBezTo>
                  <a:pt x="209640" y="431455"/>
                  <a:pt x="157515" y="379330"/>
                  <a:pt x="157515" y="315031"/>
                </a:cubicBezTo>
                <a:close/>
                <a:moveTo>
                  <a:pt x="273940" y="164364"/>
                </a:moveTo>
                <a:cubicBezTo>
                  <a:pt x="190729" y="164364"/>
                  <a:pt x="123273" y="231820"/>
                  <a:pt x="123273" y="315031"/>
                </a:cubicBezTo>
                <a:cubicBezTo>
                  <a:pt x="123273" y="398241"/>
                  <a:pt x="190729" y="465697"/>
                  <a:pt x="273940" y="465697"/>
                </a:cubicBezTo>
                <a:cubicBezTo>
                  <a:pt x="357150" y="465697"/>
                  <a:pt x="424606" y="398241"/>
                  <a:pt x="424606" y="315031"/>
                </a:cubicBezTo>
                <a:cubicBezTo>
                  <a:pt x="424606" y="231820"/>
                  <a:pt x="357150" y="164364"/>
                  <a:pt x="273940" y="164364"/>
                </a:cubicBezTo>
                <a:close/>
                <a:moveTo>
                  <a:pt x="191758" y="315031"/>
                </a:moveTo>
                <a:cubicBezTo>
                  <a:pt x="191758" y="269643"/>
                  <a:pt x="228552" y="232849"/>
                  <a:pt x="273940" y="232849"/>
                </a:cubicBezTo>
                <a:cubicBezTo>
                  <a:pt x="319327" y="232849"/>
                  <a:pt x="356121" y="269643"/>
                  <a:pt x="356121" y="315031"/>
                </a:cubicBezTo>
                <a:cubicBezTo>
                  <a:pt x="356121" y="360418"/>
                  <a:pt x="319327" y="397212"/>
                  <a:pt x="273940" y="397212"/>
                </a:cubicBezTo>
                <a:cubicBezTo>
                  <a:pt x="228552" y="397212"/>
                  <a:pt x="191758" y="360418"/>
                  <a:pt x="191758" y="315031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1369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11" name="Graphic 9" descr="Add Square&#10;Keyword: fluent-icon;&#10;Metaphor: plus, addition, new, square;&#10;Action: additive;&#10;&#10;Used for adding actions.">
            <a:extLst>
              <a:ext uri="{FF2B5EF4-FFF2-40B4-BE49-F238E27FC236}">
                <a16:creationId xmlns:a16="http://schemas.microsoft.com/office/drawing/2014/main" id="{8B229CB3-181E-48E8-90B7-797D713BF236}"/>
              </a:ext>
            </a:extLst>
          </p:cNvPr>
          <p:cNvSpPr/>
          <p:nvPr/>
        </p:nvSpPr>
        <p:spPr>
          <a:xfrm>
            <a:off x="2584847" y="5688326"/>
            <a:ext cx="493091" cy="493091"/>
          </a:xfrm>
          <a:custGeom>
            <a:avLst/>
            <a:gdLst>
              <a:gd name="connsiteX0" fmla="*/ 246546 w 493091"/>
              <a:gd name="connsiteY0" fmla="*/ 109576 h 493091"/>
              <a:gd name="connsiteX1" fmla="*/ 267091 w 493091"/>
              <a:gd name="connsiteY1" fmla="*/ 130121 h 493091"/>
              <a:gd name="connsiteX2" fmla="*/ 267091 w 493091"/>
              <a:gd name="connsiteY2" fmla="*/ 226000 h 493091"/>
              <a:gd name="connsiteX3" fmla="*/ 362970 w 493091"/>
              <a:gd name="connsiteY3" fmla="*/ 226000 h 493091"/>
              <a:gd name="connsiteX4" fmla="*/ 383515 w 493091"/>
              <a:gd name="connsiteY4" fmla="*/ 246546 h 493091"/>
              <a:gd name="connsiteX5" fmla="*/ 362970 w 493091"/>
              <a:gd name="connsiteY5" fmla="*/ 267091 h 493091"/>
              <a:gd name="connsiteX6" fmla="*/ 267091 w 493091"/>
              <a:gd name="connsiteY6" fmla="*/ 267091 h 493091"/>
              <a:gd name="connsiteX7" fmla="*/ 267091 w 493091"/>
              <a:gd name="connsiteY7" fmla="*/ 362970 h 493091"/>
              <a:gd name="connsiteX8" fmla="*/ 246546 w 493091"/>
              <a:gd name="connsiteY8" fmla="*/ 383515 h 493091"/>
              <a:gd name="connsiteX9" fmla="*/ 226000 w 493091"/>
              <a:gd name="connsiteY9" fmla="*/ 362970 h 493091"/>
              <a:gd name="connsiteX10" fmla="*/ 226000 w 493091"/>
              <a:gd name="connsiteY10" fmla="*/ 267091 h 493091"/>
              <a:gd name="connsiteX11" fmla="*/ 130121 w 493091"/>
              <a:gd name="connsiteY11" fmla="*/ 267091 h 493091"/>
              <a:gd name="connsiteX12" fmla="*/ 109576 w 493091"/>
              <a:gd name="connsiteY12" fmla="*/ 246546 h 493091"/>
              <a:gd name="connsiteX13" fmla="*/ 130121 w 493091"/>
              <a:gd name="connsiteY13" fmla="*/ 226000 h 493091"/>
              <a:gd name="connsiteX14" fmla="*/ 226000 w 493091"/>
              <a:gd name="connsiteY14" fmla="*/ 226000 h 493091"/>
              <a:gd name="connsiteX15" fmla="*/ 226000 w 493091"/>
              <a:gd name="connsiteY15" fmla="*/ 130121 h 493091"/>
              <a:gd name="connsiteX16" fmla="*/ 246546 w 493091"/>
              <a:gd name="connsiteY16" fmla="*/ 109576 h 493091"/>
              <a:gd name="connsiteX17" fmla="*/ 0 w 493091"/>
              <a:gd name="connsiteY17" fmla="*/ 89030 h 493091"/>
              <a:gd name="connsiteX18" fmla="*/ 89030 w 493091"/>
              <a:gd name="connsiteY18" fmla="*/ 0 h 493091"/>
              <a:gd name="connsiteX19" fmla="*/ 404061 w 493091"/>
              <a:gd name="connsiteY19" fmla="*/ 0 h 493091"/>
              <a:gd name="connsiteX20" fmla="*/ 493091 w 493091"/>
              <a:gd name="connsiteY20" fmla="*/ 89030 h 493091"/>
              <a:gd name="connsiteX21" fmla="*/ 493091 w 493091"/>
              <a:gd name="connsiteY21" fmla="*/ 404061 h 493091"/>
              <a:gd name="connsiteX22" fmla="*/ 404061 w 493091"/>
              <a:gd name="connsiteY22" fmla="*/ 493091 h 493091"/>
              <a:gd name="connsiteX23" fmla="*/ 89030 w 493091"/>
              <a:gd name="connsiteY23" fmla="*/ 493091 h 493091"/>
              <a:gd name="connsiteX24" fmla="*/ 0 w 493091"/>
              <a:gd name="connsiteY24" fmla="*/ 404061 h 493091"/>
              <a:gd name="connsiteX25" fmla="*/ 0 w 493091"/>
              <a:gd name="connsiteY25" fmla="*/ 89030 h 493091"/>
              <a:gd name="connsiteX26" fmla="*/ 89030 w 493091"/>
              <a:gd name="connsiteY26" fmla="*/ 41091 h 493091"/>
              <a:gd name="connsiteX27" fmla="*/ 41091 w 493091"/>
              <a:gd name="connsiteY27" fmla="*/ 89030 h 493091"/>
              <a:gd name="connsiteX28" fmla="*/ 41091 w 493091"/>
              <a:gd name="connsiteY28" fmla="*/ 404061 h 493091"/>
              <a:gd name="connsiteX29" fmla="*/ 89030 w 493091"/>
              <a:gd name="connsiteY29" fmla="*/ 452000 h 493091"/>
              <a:gd name="connsiteX30" fmla="*/ 404061 w 493091"/>
              <a:gd name="connsiteY30" fmla="*/ 452000 h 493091"/>
              <a:gd name="connsiteX31" fmla="*/ 452000 w 493091"/>
              <a:gd name="connsiteY31" fmla="*/ 404061 h 493091"/>
              <a:gd name="connsiteX32" fmla="*/ 452000 w 493091"/>
              <a:gd name="connsiteY32" fmla="*/ 89030 h 493091"/>
              <a:gd name="connsiteX33" fmla="*/ 404061 w 493091"/>
              <a:gd name="connsiteY33" fmla="*/ 41091 h 493091"/>
              <a:gd name="connsiteX34" fmla="*/ 89030 w 493091"/>
              <a:gd name="connsiteY34" fmla="*/ 41091 h 493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493091" h="493091">
                <a:moveTo>
                  <a:pt x="246546" y="109576"/>
                </a:moveTo>
                <a:cubicBezTo>
                  <a:pt x="257892" y="109576"/>
                  <a:pt x="267091" y="118774"/>
                  <a:pt x="267091" y="130121"/>
                </a:cubicBezTo>
                <a:lnTo>
                  <a:pt x="267091" y="226000"/>
                </a:lnTo>
                <a:lnTo>
                  <a:pt x="362970" y="226000"/>
                </a:lnTo>
                <a:cubicBezTo>
                  <a:pt x="374317" y="226000"/>
                  <a:pt x="383515" y="235199"/>
                  <a:pt x="383515" y="246546"/>
                </a:cubicBezTo>
                <a:cubicBezTo>
                  <a:pt x="383515" y="257892"/>
                  <a:pt x="374317" y="267091"/>
                  <a:pt x="362970" y="267091"/>
                </a:cubicBezTo>
                <a:lnTo>
                  <a:pt x="267091" y="267091"/>
                </a:lnTo>
                <a:lnTo>
                  <a:pt x="267091" y="362970"/>
                </a:lnTo>
                <a:cubicBezTo>
                  <a:pt x="267091" y="374317"/>
                  <a:pt x="257892" y="383515"/>
                  <a:pt x="246546" y="383515"/>
                </a:cubicBezTo>
                <a:cubicBezTo>
                  <a:pt x="235199" y="383515"/>
                  <a:pt x="226000" y="374317"/>
                  <a:pt x="226000" y="362970"/>
                </a:cubicBezTo>
                <a:lnTo>
                  <a:pt x="226000" y="267091"/>
                </a:lnTo>
                <a:lnTo>
                  <a:pt x="130121" y="267091"/>
                </a:lnTo>
                <a:cubicBezTo>
                  <a:pt x="118774" y="267091"/>
                  <a:pt x="109576" y="257892"/>
                  <a:pt x="109576" y="246546"/>
                </a:cubicBezTo>
                <a:cubicBezTo>
                  <a:pt x="109576" y="235199"/>
                  <a:pt x="118774" y="226000"/>
                  <a:pt x="130121" y="226000"/>
                </a:cubicBezTo>
                <a:lnTo>
                  <a:pt x="226000" y="226000"/>
                </a:lnTo>
                <a:lnTo>
                  <a:pt x="226000" y="130121"/>
                </a:lnTo>
                <a:cubicBezTo>
                  <a:pt x="226000" y="118774"/>
                  <a:pt x="235199" y="109576"/>
                  <a:pt x="246546" y="109576"/>
                </a:cubicBezTo>
                <a:close/>
                <a:moveTo>
                  <a:pt x="0" y="89030"/>
                </a:moveTo>
                <a:cubicBezTo>
                  <a:pt x="0" y="39860"/>
                  <a:pt x="39860" y="0"/>
                  <a:pt x="89030" y="0"/>
                </a:cubicBezTo>
                <a:lnTo>
                  <a:pt x="404061" y="0"/>
                </a:lnTo>
                <a:cubicBezTo>
                  <a:pt x="453230" y="0"/>
                  <a:pt x="493091" y="39860"/>
                  <a:pt x="493091" y="89030"/>
                </a:cubicBezTo>
                <a:lnTo>
                  <a:pt x="493091" y="404061"/>
                </a:lnTo>
                <a:cubicBezTo>
                  <a:pt x="493091" y="453230"/>
                  <a:pt x="453230" y="493091"/>
                  <a:pt x="404061" y="493091"/>
                </a:cubicBezTo>
                <a:lnTo>
                  <a:pt x="89030" y="493091"/>
                </a:lnTo>
                <a:cubicBezTo>
                  <a:pt x="39860" y="493091"/>
                  <a:pt x="0" y="453230"/>
                  <a:pt x="0" y="404061"/>
                </a:cubicBezTo>
                <a:lnTo>
                  <a:pt x="0" y="89030"/>
                </a:lnTo>
                <a:close/>
                <a:moveTo>
                  <a:pt x="89030" y="41091"/>
                </a:moveTo>
                <a:cubicBezTo>
                  <a:pt x="62554" y="41091"/>
                  <a:pt x="41091" y="62554"/>
                  <a:pt x="41091" y="89030"/>
                </a:cubicBezTo>
                <a:lnTo>
                  <a:pt x="41091" y="404061"/>
                </a:lnTo>
                <a:cubicBezTo>
                  <a:pt x="41091" y="430537"/>
                  <a:pt x="62554" y="452000"/>
                  <a:pt x="89030" y="452000"/>
                </a:cubicBezTo>
                <a:lnTo>
                  <a:pt x="404061" y="452000"/>
                </a:lnTo>
                <a:cubicBezTo>
                  <a:pt x="430537" y="452000"/>
                  <a:pt x="452000" y="430537"/>
                  <a:pt x="452000" y="404061"/>
                </a:cubicBezTo>
                <a:lnTo>
                  <a:pt x="452000" y="89030"/>
                </a:lnTo>
                <a:cubicBezTo>
                  <a:pt x="452000" y="62554"/>
                  <a:pt x="430537" y="41091"/>
                  <a:pt x="404061" y="41091"/>
                </a:cubicBezTo>
                <a:lnTo>
                  <a:pt x="89030" y="41091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12" name="Graphic 13" descr="Battery Empty&#10;Keyword: fluent-icon;&#10;Metaphor: charge, power;&#10;&#10;Used for power indication on devices. Contains power variants.">
            <a:extLst>
              <a:ext uri="{FF2B5EF4-FFF2-40B4-BE49-F238E27FC236}">
                <a16:creationId xmlns:a16="http://schemas.microsoft.com/office/drawing/2014/main" id="{86A9B310-5C3D-62FF-D637-7D8E00D5968E}"/>
              </a:ext>
            </a:extLst>
          </p:cNvPr>
          <p:cNvSpPr/>
          <p:nvPr/>
        </p:nvSpPr>
        <p:spPr>
          <a:xfrm>
            <a:off x="4417243" y="5770508"/>
            <a:ext cx="547895" cy="328727"/>
          </a:xfrm>
          <a:custGeom>
            <a:avLst/>
            <a:gdLst>
              <a:gd name="connsiteX0" fmla="*/ 410918 w 547895"/>
              <a:gd name="connsiteY0" fmla="*/ 0 h 328727"/>
              <a:gd name="connsiteX1" fmla="*/ 493099 w 547895"/>
              <a:gd name="connsiteY1" fmla="*/ 82182 h 328727"/>
              <a:gd name="connsiteX2" fmla="*/ 493099 w 547895"/>
              <a:gd name="connsiteY2" fmla="*/ 109576 h 328727"/>
              <a:gd name="connsiteX3" fmla="*/ 520502 w 547895"/>
              <a:gd name="connsiteY3" fmla="*/ 109576 h 328727"/>
              <a:gd name="connsiteX4" fmla="*/ 534199 w 547895"/>
              <a:gd name="connsiteY4" fmla="*/ 113241 h 328727"/>
              <a:gd name="connsiteX5" fmla="*/ 547896 w 547895"/>
              <a:gd name="connsiteY5" fmla="*/ 136970 h 328727"/>
              <a:gd name="connsiteX6" fmla="*/ 547896 w 547895"/>
              <a:gd name="connsiteY6" fmla="*/ 191758 h 328727"/>
              <a:gd name="connsiteX7" fmla="*/ 534199 w 547895"/>
              <a:gd name="connsiteY7" fmla="*/ 215486 h 328727"/>
              <a:gd name="connsiteX8" fmla="*/ 520502 w 547895"/>
              <a:gd name="connsiteY8" fmla="*/ 219152 h 328727"/>
              <a:gd name="connsiteX9" fmla="*/ 493099 w 547895"/>
              <a:gd name="connsiteY9" fmla="*/ 219152 h 328727"/>
              <a:gd name="connsiteX10" fmla="*/ 493099 w 547895"/>
              <a:gd name="connsiteY10" fmla="*/ 246546 h 328727"/>
              <a:gd name="connsiteX11" fmla="*/ 410918 w 547895"/>
              <a:gd name="connsiteY11" fmla="*/ 328728 h 328727"/>
              <a:gd name="connsiteX12" fmla="*/ 82182 w 547895"/>
              <a:gd name="connsiteY12" fmla="*/ 328728 h 328727"/>
              <a:gd name="connsiteX13" fmla="*/ 0 w 547895"/>
              <a:gd name="connsiteY13" fmla="*/ 246546 h 328727"/>
              <a:gd name="connsiteX14" fmla="*/ 0 w 547895"/>
              <a:gd name="connsiteY14" fmla="*/ 82182 h 328727"/>
              <a:gd name="connsiteX15" fmla="*/ 82182 w 547895"/>
              <a:gd name="connsiteY15" fmla="*/ 0 h 328727"/>
              <a:gd name="connsiteX16" fmla="*/ 410918 w 547895"/>
              <a:gd name="connsiteY16" fmla="*/ 0 h 328727"/>
              <a:gd name="connsiteX17" fmla="*/ 410868 w 547895"/>
              <a:gd name="connsiteY17" fmla="*/ 41091 h 328727"/>
              <a:gd name="connsiteX18" fmla="*/ 82182 w 547895"/>
              <a:gd name="connsiteY18" fmla="*/ 41091 h 328727"/>
              <a:gd name="connsiteX19" fmla="*/ 41279 w 547895"/>
              <a:gd name="connsiteY19" fmla="*/ 78225 h 328727"/>
              <a:gd name="connsiteX20" fmla="*/ 41091 w 547895"/>
              <a:gd name="connsiteY20" fmla="*/ 82182 h 328727"/>
              <a:gd name="connsiteX21" fmla="*/ 41091 w 547895"/>
              <a:gd name="connsiteY21" fmla="*/ 246546 h 328727"/>
              <a:gd name="connsiteX22" fmla="*/ 78225 w 547895"/>
              <a:gd name="connsiteY22" fmla="*/ 287448 h 328727"/>
              <a:gd name="connsiteX23" fmla="*/ 82182 w 547895"/>
              <a:gd name="connsiteY23" fmla="*/ 287637 h 328727"/>
              <a:gd name="connsiteX24" fmla="*/ 410868 w 547895"/>
              <a:gd name="connsiteY24" fmla="*/ 287637 h 328727"/>
              <a:gd name="connsiteX25" fmla="*/ 451770 w 547895"/>
              <a:gd name="connsiteY25" fmla="*/ 250504 h 328727"/>
              <a:gd name="connsiteX26" fmla="*/ 451959 w 547895"/>
              <a:gd name="connsiteY26" fmla="*/ 246546 h 328727"/>
              <a:gd name="connsiteX27" fmla="*/ 451959 w 547895"/>
              <a:gd name="connsiteY27" fmla="*/ 82182 h 328727"/>
              <a:gd name="connsiteX28" fmla="*/ 414824 w 547895"/>
              <a:gd name="connsiteY28" fmla="*/ 41279 h 328727"/>
              <a:gd name="connsiteX29" fmla="*/ 410868 w 547895"/>
              <a:gd name="connsiteY29" fmla="*/ 41091 h 328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547895" h="328727">
                <a:moveTo>
                  <a:pt x="410918" y="0"/>
                </a:moveTo>
                <a:cubicBezTo>
                  <a:pt x="456307" y="0"/>
                  <a:pt x="493099" y="36794"/>
                  <a:pt x="493099" y="82182"/>
                </a:cubicBezTo>
                <a:lnTo>
                  <a:pt x="493099" y="109576"/>
                </a:lnTo>
                <a:lnTo>
                  <a:pt x="520502" y="109576"/>
                </a:lnTo>
                <a:cubicBezTo>
                  <a:pt x="525490" y="109576"/>
                  <a:pt x="530169" y="110910"/>
                  <a:pt x="534199" y="113241"/>
                </a:cubicBezTo>
                <a:cubicBezTo>
                  <a:pt x="542387" y="117978"/>
                  <a:pt x="547896" y="126831"/>
                  <a:pt x="547896" y="136970"/>
                </a:cubicBezTo>
                <a:lnTo>
                  <a:pt x="547896" y="191758"/>
                </a:lnTo>
                <a:cubicBezTo>
                  <a:pt x="547896" y="201896"/>
                  <a:pt x="542387" y="210750"/>
                  <a:pt x="534199" y="215486"/>
                </a:cubicBezTo>
                <a:cubicBezTo>
                  <a:pt x="530169" y="217818"/>
                  <a:pt x="525490" y="219152"/>
                  <a:pt x="520502" y="219152"/>
                </a:cubicBezTo>
                <a:lnTo>
                  <a:pt x="493099" y="219152"/>
                </a:lnTo>
                <a:lnTo>
                  <a:pt x="493099" y="246546"/>
                </a:lnTo>
                <a:cubicBezTo>
                  <a:pt x="493099" y="291935"/>
                  <a:pt x="456307" y="328728"/>
                  <a:pt x="410918" y="328728"/>
                </a:cubicBezTo>
                <a:lnTo>
                  <a:pt x="82182" y="328728"/>
                </a:lnTo>
                <a:cubicBezTo>
                  <a:pt x="36794" y="328728"/>
                  <a:pt x="0" y="291935"/>
                  <a:pt x="0" y="246546"/>
                </a:cubicBezTo>
                <a:lnTo>
                  <a:pt x="0" y="82182"/>
                </a:lnTo>
                <a:cubicBezTo>
                  <a:pt x="0" y="36794"/>
                  <a:pt x="36794" y="0"/>
                  <a:pt x="82182" y="0"/>
                </a:cubicBezTo>
                <a:lnTo>
                  <a:pt x="410918" y="0"/>
                </a:lnTo>
                <a:close/>
                <a:moveTo>
                  <a:pt x="410868" y="41091"/>
                </a:moveTo>
                <a:lnTo>
                  <a:pt x="82182" y="41091"/>
                </a:lnTo>
                <a:cubicBezTo>
                  <a:pt x="60823" y="41091"/>
                  <a:pt x="43270" y="57387"/>
                  <a:pt x="41279" y="78225"/>
                </a:cubicBezTo>
                <a:lnTo>
                  <a:pt x="41091" y="82182"/>
                </a:lnTo>
                <a:lnTo>
                  <a:pt x="41091" y="246546"/>
                </a:lnTo>
                <a:cubicBezTo>
                  <a:pt x="41091" y="267905"/>
                  <a:pt x="57387" y="285456"/>
                  <a:pt x="78225" y="287448"/>
                </a:cubicBezTo>
                <a:lnTo>
                  <a:pt x="82182" y="287637"/>
                </a:lnTo>
                <a:lnTo>
                  <a:pt x="410868" y="287637"/>
                </a:lnTo>
                <a:cubicBezTo>
                  <a:pt x="432225" y="287637"/>
                  <a:pt x="449779" y="271340"/>
                  <a:pt x="451770" y="250504"/>
                </a:cubicBezTo>
                <a:lnTo>
                  <a:pt x="451959" y="246546"/>
                </a:lnTo>
                <a:lnTo>
                  <a:pt x="451959" y="82182"/>
                </a:lnTo>
                <a:cubicBezTo>
                  <a:pt x="451959" y="60823"/>
                  <a:pt x="435663" y="43270"/>
                  <a:pt x="414824" y="41279"/>
                </a:cubicBezTo>
                <a:lnTo>
                  <a:pt x="410868" y="41091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13" name="Graphic 17" descr="Battery Low &#10;Keyword: fluent-icon;&#10;Metaphor: charge, power;&#10;&#10;Used for power indication on devices. Contains power variants.">
            <a:extLst>
              <a:ext uri="{FF2B5EF4-FFF2-40B4-BE49-F238E27FC236}">
                <a16:creationId xmlns:a16="http://schemas.microsoft.com/office/drawing/2014/main" id="{89CA2516-8BB9-9F8C-ACE7-64596B11CC55}"/>
              </a:ext>
            </a:extLst>
          </p:cNvPr>
          <p:cNvSpPr/>
          <p:nvPr/>
        </p:nvSpPr>
        <p:spPr>
          <a:xfrm>
            <a:off x="5348408" y="5770508"/>
            <a:ext cx="547895" cy="328727"/>
          </a:xfrm>
          <a:custGeom>
            <a:avLst/>
            <a:gdLst>
              <a:gd name="connsiteX0" fmla="*/ 410918 w 547895"/>
              <a:gd name="connsiteY0" fmla="*/ 0 h 328727"/>
              <a:gd name="connsiteX1" fmla="*/ 493099 w 547895"/>
              <a:gd name="connsiteY1" fmla="*/ 82182 h 328727"/>
              <a:gd name="connsiteX2" fmla="*/ 493099 w 547895"/>
              <a:gd name="connsiteY2" fmla="*/ 109576 h 328727"/>
              <a:gd name="connsiteX3" fmla="*/ 520502 w 547895"/>
              <a:gd name="connsiteY3" fmla="*/ 109576 h 328727"/>
              <a:gd name="connsiteX4" fmla="*/ 534199 w 547895"/>
              <a:gd name="connsiteY4" fmla="*/ 113241 h 328727"/>
              <a:gd name="connsiteX5" fmla="*/ 547896 w 547895"/>
              <a:gd name="connsiteY5" fmla="*/ 136970 h 328727"/>
              <a:gd name="connsiteX6" fmla="*/ 547896 w 547895"/>
              <a:gd name="connsiteY6" fmla="*/ 191758 h 328727"/>
              <a:gd name="connsiteX7" fmla="*/ 534199 w 547895"/>
              <a:gd name="connsiteY7" fmla="*/ 215486 h 328727"/>
              <a:gd name="connsiteX8" fmla="*/ 520502 w 547895"/>
              <a:gd name="connsiteY8" fmla="*/ 219152 h 328727"/>
              <a:gd name="connsiteX9" fmla="*/ 493099 w 547895"/>
              <a:gd name="connsiteY9" fmla="*/ 219152 h 328727"/>
              <a:gd name="connsiteX10" fmla="*/ 493099 w 547895"/>
              <a:gd name="connsiteY10" fmla="*/ 246546 h 328727"/>
              <a:gd name="connsiteX11" fmla="*/ 410918 w 547895"/>
              <a:gd name="connsiteY11" fmla="*/ 328728 h 328727"/>
              <a:gd name="connsiteX12" fmla="*/ 82182 w 547895"/>
              <a:gd name="connsiteY12" fmla="*/ 328728 h 328727"/>
              <a:gd name="connsiteX13" fmla="*/ 0 w 547895"/>
              <a:gd name="connsiteY13" fmla="*/ 246546 h 328727"/>
              <a:gd name="connsiteX14" fmla="*/ 0 w 547895"/>
              <a:gd name="connsiteY14" fmla="*/ 82182 h 328727"/>
              <a:gd name="connsiteX15" fmla="*/ 82182 w 547895"/>
              <a:gd name="connsiteY15" fmla="*/ 0 h 328727"/>
              <a:gd name="connsiteX16" fmla="*/ 410918 w 547895"/>
              <a:gd name="connsiteY16" fmla="*/ 0 h 328727"/>
              <a:gd name="connsiteX17" fmla="*/ 410868 w 547895"/>
              <a:gd name="connsiteY17" fmla="*/ 41091 h 328727"/>
              <a:gd name="connsiteX18" fmla="*/ 82182 w 547895"/>
              <a:gd name="connsiteY18" fmla="*/ 41091 h 328727"/>
              <a:gd name="connsiteX19" fmla="*/ 41279 w 547895"/>
              <a:gd name="connsiteY19" fmla="*/ 78225 h 328727"/>
              <a:gd name="connsiteX20" fmla="*/ 41091 w 547895"/>
              <a:gd name="connsiteY20" fmla="*/ 82182 h 328727"/>
              <a:gd name="connsiteX21" fmla="*/ 41091 w 547895"/>
              <a:gd name="connsiteY21" fmla="*/ 246546 h 328727"/>
              <a:gd name="connsiteX22" fmla="*/ 78225 w 547895"/>
              <a:gd name="connsiteY22" fmla="*/ 287448 h 328727"/>
              <a:gd name="connsiteX23" fmla="*/ 82182 w 547895"/>
              <a:gd name="connsiteY23" fmla="*/ 287637 h 328727"/>
              <a:gd name="connsiteX24" fmla="*/ 410868 w 547895"/>
              <a:gd name="connsiteY24" fmla="*/ 287637 h 328727"/>
              <a:gd name="connsiteX25" fmla="*/ 451770 w 547895"/>
              <a:gd name="connsiteY25" fmla="*/ 250504 h 328727"/>
              <a:gd name="connsiteX26" fmla="*/ 451959 w 547895"/>
              <a:gd name="connsiteY26" fmla="*/ 246546 h 328727"/>
              <a:gd name="connsiteX27" fmla="*/ 451959 w 547895"/>
              <a:gd name="connsiteY27" fmla="*/ 82182 h 328727"/>
              <a:gd name="connsiteX28" fmla="*/ 414824 w 547895"/>
              <a:gd name="connsiteY28" fmla="*/ 41279 h 328727"/>
              <a:gd name="connsiteX29" fmla="*/ 410868 w 547895"/>
              <a:gd name="connsiteY29" fmla="*/ 41091 h 328727"/>
              <a:gd name="connsiteX30" fmla="*/ 109667 w 547895"/>
              <a:gd name="connsiteY30" fmla="*/ 82148 h 328727"/>
              <a:gd name="connsiteX31" fmla="*/ 136979 w 547895"/>
              <a:gd name="connsiteY31" fmla="*/ 82148 h 328727"/>
              <a:gd name="connsiteX32" fmla="*/ 164188 w 547895"/>
              <a:gd name="connsiteY32" fmla="*/ 106347 h 328727"/>
              <a:gd name="connsiteX33" fmla="*/ 164373 w 547895"/>
              <a:gd name="connsiteY33" fmla="*/ 109542 h 328727"/>
              <a:gd name="connsiteX34" fmla="*/ 164373 w 547895"/>
              <a:gd name="connsiteY34" fmla="*/ 219119 h 328727"/>
              <a:gd name="connsiteX35" fmla="*/ 140173 w 547895"/>
              <a:gd name="connsiteY35" fmla="*/ 246326 h 328727"/>
              <a:gd name="connsiteX36" fmla="*/ 136979 w 547895"/>
              <a:gd name="connsiteY36" fmla="*/ 246513 h 328727"/>
              <a:gd name="connsiteX37" fmla="*/ 109667 w 547895"/>
              <a:gd name="connsiteY37" fmla="*/ 246513 h 328727"/>
              <a:gd name="connsiteX38" fmla="*/ 82457 w 547895"/>
              <a:gd name="connsiteY38" fmla="*/ 222313 h 328727"/>
              <a:gd name="connsiteX39" fmla="*/ 82273 w 547895"/>
              <a:gd name="connsiteY39" fmla="*/ 219119 h 328727"/>
              <a:gd name="connsiteX40" fmla="*/ 82273 w 547895"/>
              <a:gd name="connsiteY40" fmla="*/ 109542 h 328727"/>
              <a:gd name="connsiteX41" fmla="*/ 106472 w 547895"/>
              <a:gd name="connsiteY41" fmla="*/ 82332 h 328727"/>
              <a:gd name="connsiteX42" fmla="*/ 109667 w 547895"/>
              <a:gd name="connsiteY42" fmla="*/ 82148 h 328727"/>
              <a:gd name="connsiteX43" fmla="*/ 136979 w 547895"/>
              <a:gd name="connsiteY43" fmla="*/ 82148 h 328727"/>
              <a:gd name="connsiteX44" fmla="*/ 109667 w 547895"/>
              <a:gd name="connsiteY44" fmla="*/ 82148 h 328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547895" h="328727">
                <a:moveTo>
                  <a:pt x="410918" y="0"/>
                </a:moveTo>
                <a:cubicBezTo>
                  <a:pt x="456307" y="0"/>
                  <a:pt x="493099" y="36794"/>
                  <a:pt x="493099" y="82182"/>
                </a:cubicBezTo>
                <a:lnTo>
                  <a:pt x="493099" y="109576"/>
                </a:lnTo>
                <a:lnTo>
                  <a:pt x="520502" y="109576"/>
                </a:lnTo>
                <a:cubicBezTo>
                  <a:pt x="525490" y="109576"/>
                  <a:pt x="530169" y="110910"/>
                  <a:pt x="534199" y="113241"/>
                </a:cubicBezTo>
                <a:cubicBezTo>
                  <a:pt x="542387" y="117978"/>
                  <a:pt x="547896" y="126831"/>
                  <a:pt x="547896" y="136970"/>
                </a:cubicBezTo>
                <a:lnTo>
                  <a:pt x="547896" y="191758"/>
                </a:lnTo>
                <a:cubicBezTo>
                  <a:pt x="547896" y="201896"/>
                  <a:pt x="542387" y="210750"/>
                  <a:pt x="534199" y="215486"/>
                </a:cubicBezTo>
                <a:cubicBezTo>
                  <a:pt x="530169" y="217818"/>
                  <a:pt x="525490" y="219152"/>
                  <a:pt x="520502" y="219152"/>
                </a:cubicBezTo>
                <a:lnTo>
                  <a:pt x="493099" y="219152"/>
                </a:lnTo>
                <a:lnTo>
                  <a:pt x="493099" y="246546"/>
                </a:lnTo>
                <a:cubicBezTo>
                  <a:pt x="493099" y="291935"/>
                  <a:pt x="456307" y="328728"/>
                  <a:pt x="410918" y="328728"/>
                </a:cubicBezTo>
                <a:lnTo>
                  <a:pt x="82182" y="328728"/>
                </a:lnTo>
                <a:cubicBezTo>
                  <a:pt x="36794" y="328728"/>
                  <a:pt x="0" y="291935"/>
                  <a:pt x="0" y="246546"/>
                </a:cubicBezTo>
                <a:lnTo>
                  <a:pt x="0" y="82182"/>
                </a:lnTo>
                <a:cubicBezTo>
                  <a:pt x="0" y="36794"/>
                  <a:pt x="36794" y="0"/>
                  <a:pt x="82182" y="0"/>
                </a:cubicBezTo>
                <a:lnTo>
                  <a:pt x="410918" y="0"/>
                </a:lnTo>
                <a:close/>
                <a:moveTo>
                  <a:pt x="410868" y="41091"/>
                </a:moveTo>
                <a:lnTo>
                  <a:pt x="82182" y="41091"/>
                </a:lnTo>
                <a:cubicBezTo>
                  <a:pt x="60823" y="41091"/>
                  <a:pt x="43270" y="57387"/>
                  <a:pt x="41279" y="78225"/>
                </a:cubicBezTo>
                <a:lnTo>
                  <a:pt x="41091" y="82182"/>
                </a:lnTo>
                <a:lnTo>
                  <a:pt x="41091" y="246546"/>
                </a:lnTo>
                <a:cubicBezTo>
                  <a:pt x="41091" y="267905"/>
                  <a:pt x="57387" y="285456"/>
                  <a:pt x="78225" y="287448"/>
                </a:cubicBezTo>
                <a:lnTo>
                  <a:pt x="82182" y="287637"/>
                </a:lnTo>
                <a:lnTo>
                  <a:pt x="410868" y="287637"/>
                </a:lnTo>
                <a:cubicBezTo>
                  <a:pt x="432225" y="287637"/>
                  <a:pt x="449779" y="271340"/>
                  <a:pt x="451770" y="250504"/>
                </a:cubicBezTo>
                <a:lnTo>
                  <a:pt x="451959" y="246546"/>
                </a:lnTo>
                <a:lnTo>
                  <a:pt x="451959" y="82182"/>
                </a:lnTo>
                <a:cubicBezTo>
                  <a:pt x="451959" y="60823"/>
                  <a:pt x="435663" y="43270"/>
                  <a:pt x="414824" y="41279"/>
                </a:cubicBezTo>
                <a:lnTo>
                  <a:pt x="410868" y="41091"/>
                </a:lnTo>
                <a:close/>
                <a:moveTo>
                  <a:pt x="109667" y="82148"/>
                </a:moveTo>
                <a:lnTo>
                  <a:pt x="136979" y="82148"/>
                </a:lnTo>
                <a:cubicBezTo>
                  <a:pt x="151027" y="82148"/>
                  <a:pt x="162606" y="92723"/>
                  <a:pt x="164188" y="106347"/>
                </a:cubicBezTo>
                <a:lnTo>
                  <a:pt x="164373" y="109542"/>
                </a:lnTo>
                <a:lnTo>
                  <a:pt x="164373" y="219119"/>
                </a:lnTo>
                <a:cubicBezTo>
                  <a:pt x="164373" y="233166"/>
                  <a:pt x="153797" y="244746"/>
                  <a:pt x="140173" y="246326"/>
                </a:cubicBezTo>
                <a:lnTo>
                  <a:pt x="136979" y="246513"/>
                </a:lnTo>
                <a:lnTo>
                  <a:pt x="109667" y="246513"/>
                </a:lnTo>
                <a:cubicBezTo>
                  <a:pt x="95618" y="246513"/>
                  <a:pt x="84039" y="235936"/>
                  <a:pt x="82457" y="222313"/>
                </a:cubicBezTo>
                <a:lnTo>
                  <a:pt x="82273" y="219119"/>
                </a:lnTo>
                <a:lnTo>
                  <a:pt x="82273" y="109542"/>
                </a:lnTo>
                <a:cubicBezTo>
                  <a:pt x="82273" y="95493"/>
                  <a:pt x="92848" y="83914"/>
                  <a:pt x="106472" y="82332"/>
                </a:cubicBezTo>
                <a:lnTo>
                  <a:pt x="109667" y="82148"/>
                </a:lnTo>
                <a:lnTo>
                  <a:pt x="136979" y="82148"/>
                </a:lnTo>
                <a:lnTo>
                  <a:pt x="109667" y="82148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14" name="Graphic 21" descr="Expand">
            <a:extLst>
              <a:ext uri="{FF2B5EF4-FFF2-40B4-BE49-F238E27FC236}">
                <a16:creationId xmlns:a16="http://schemas.microsoft.com/office/drawing/2014/main" id="{59C6A4BB-7BBE-F975-D6A8-24AD2A030D87}"/>
              </a:ext>
            </a:extLst>
          </p:cNvPr>
          <p:cNvSpPr/>
          <p:nvPr/>
        </p:nvSpPr>
        <p:spPr>
          <a:xfrm>
            <a:off x="6310046" y="5688326"/>
            <a:ext cx="493091" cy="493091"/>
          </a:xfrm>
          <a:custGeom>
            <a:avLst/>
            <a:gdLst>
              <a:gd name="connsiteX0" fmla="*/ 34242 w 493091"/>
              <a:gd name="connsiteY0" fmla="*/ 85606 h 493091"/>
              <a:gd name="connsiteX1" fmla="*/ 85606 w 493091"/>
              <a:gd name="connsiteY1" fmla="*/ 34242 h 493091"/>
              <a:gd name="connsiteX2" fmla="*/ 193601 w 493091"/>
              <a:gd name="connsiteY2" fmla="*/ 34242 h 493091"/>
              <a:gd name="connsiteX3" fmla="*/ 210723 w 493091"/>
              <a:gd name="connsiteY3" fmla="*/ 17121 h 493091"/>
              <a:gd name="connsiteX4" fmla="*/ 193601 w 493091"/>
              <a:gd name="connsiteY4" fmla="*/ 0 h 493091"/>
              <a:gd name="connsiteX5" fmla="*/ 85606 w 493091"/>
              <a:gd name="connsiteY5" fmla="*/ 0 h 493091"/>
              <a:gd name="connsiteX6" fmla="*/ 0 w 493091"/>
              <a:gd name="connsiteY6" fmla="*/ 85606 h 493091"/>
              <a:gd name="connsiteX7" fmla="*/ 0 w 493091"/>
              <a:gd name="connsiteY7" fmla="*/ 407485 h 493091"/>
              <a:gd name="connsiteX8" fmla="*/ 85606 w 493091"/>
              <a:gd name="connsiteY8" fmla="*/ 493091 h 493091"/>
              <a:gd name="connsiteX9" fmla="*/ 407485 w 493091"/>
              <a:gd name="connsiteY9" fmla="*/ 493091 h 493091"/>
              <a:gd name="connsiteX10" fmla="*/ 493091 w 493091"/>
              <a:gd name="connsiteY10" fmla="*/ 407485 h 493091"/>
              <a:gd name="connsiteX11" fmla="*/ 493091 w 493091"/>
              <a:gd name="connsiteY11" fmla="*/ 299490 h 493091"/>
              <a:gd name="connsiteX12" fmla="*/ 475970 w 493091"/>
              <a:gd name="connsiteY12" fmla="*/ 282369 h 493091"/>
              <a:gd name="connsiteX13" fmla="*/ 458849 w 493091"/>
              <a:gd name="connsiteY13" fmla="*/ 299490 h 493091"/>
              <a:gd name="connsiteX14" fmla="*/ 458849 w 493091"/>
              <a:gd name="connsiteY14" fmla="*/ 407485 h 493091"/>
              <a:gd name="connsiteX15" fmla="*/ 407485 w 493091"/>
              <a:gd name="connsiteY15" fmla="*/ 458849 h 493091"/>
              <a:gd name="connsiteX16" fmla="*/ 246546 w 493091"/>
              <a:gd name="connsiteY16" fmla="*/ 458849 h 493091"/>
              <a:gd name="connsiteX17" fmla="*/ 246546 w 493091"/>
              <a:gd name="connsiteY17" fmla="*/ 318453 h 493091"/>
              <a:gd name="connsiteX18" fmla="*/ 174636 w 493091"/>
              <a:gd name="connsiteY18" fmla="*/ 246544 h 493091"/>
              <a:gd name="connsiteX19" fmla="*/ 34242 w 493091"/>
              <a:gd name="connsiteY19" fmla="*/ 246544 h 493091"/>
              <a:gd name="connsiteX20" fmla="*/ 34242 w 493091"/>
              <a:gd name="connsiteY20" fmla="*/ 85606 h 493091"/>
              <a:gd name="connsiteX21" fmla="*/ 34242 w 493091"/>
              <a:gd name="connsiteY21" fmla="*/ 280787 h 493091"/>
              <a:gd name="connsiteX22" fmla="*/ 174636 w 493091"/>
              <a:gd name="connsiteY22" fmla="*/ 280787 h 493091"/>
              <a:gd name="connsiteX23" fmla="*/ 212303 w 493091"/>
              <a:gd name="connsiteY23" fmla="*/ 318453 h 493091"/>
              <a:gd name="connsiteX24" fmla="*/ 212303 w 493091"/>
              <a:gd name="connsiteY24" fmla="*/ 458849 h 493091"/>
              <a:gd name="connsiteX25" fmla="*/ 85606 w 493091"/>
              <a:gd name="connsiteY25" fmla="*/ 458849 h 493091"/>
              <a:gd name="connsiteX26" fmla="*/ 34242 w 493091"/>
              <a:gd name="connsiteY26" fmla="*/ 407485 h 493091"/>
              <a:gd name="connsiteX27" fmla="*/ 34242 w 493091"/>
              <a:gd name="connsiteY27" fmla="*/ 280787 h 493091"/>
              <a:gd name="connsiteX28" fmla="*/ 287637 w 493091"/>
              <a:gd name="connsiteY28" fmla="*/ 17121 h 493091"/>
              <a:gd name="connsiteX29" fmla="*/ 304758 w 493091"/>
              <a:gd name="connsiteY29" fmla="*/ 0 h 493091"/>
              <a:gd name="connsiteX30" fmla="*/ 475967 w 493091"/>
              <a:gd name="connsiteY30" fmla="*/ 0 h 493091"/>
              <a:gd name="connsiteX31" fmla="*/ 493089 w 493091"/>
              <a:gd name="connsiteY31" fmla="*/ 17121 h 493091"/>
              <a:gd name="connsiteX32" fmla="*/ 493089 w 493091"/>
              <a:gd name="connsiteY32" fmla="*/ 188333 h 493091"/>
              <a:gd name="connsiteX33" fmla="*/ 475967 w 493091"/>
              <a:gd name="connsiteY33" fmla="*/ 205455 h 493091"/>
              <a:gd name="connsiteX34" fmla="*/ 458846 w 493091"/>
              <a:gd name="connsiteY34" fmla="*/ 188333 h 493091"/>
              <a:gd name="connsiteX35" fmla="*/ 458846 w 493091"/>
              <a:gd name="connsiteY35" fmla="*/ 58456 h 493091"/>
              <a:gd name="connsiteX36" fmla="*/ 316865 w 493091"/>
              <a:gd name="connsiteY36" fmla="*/ 200439 h 493091"/>
              <a:gd name="connsiteX37" fmla="*/ 292651 w 493091"/>
              <a:gd name="connsiteY37" fmla="*/ 200439 h 493091"/>
              <a:gd name="connsiteX38" fmla="*/ 292651 w 493091"/>
              <a:gd name="connsiteY38" fmla="*/ 176225 h 493091"/>
              <a:gd name="connsiteX39" fmla="*/ 434634 w 493091"/>
              <a:gd name="connsiteY39" fmla="*/ 34242 h 493091"/>
              <a:gd name="connsiteX40" fmla="*/ 304758 w 493091"/>
              <a:gd name="connsiteY40" fmla="*/ 34242 h 493091"/>
              <a:gd name="connsiteX41" fmla="*/ 287637 w 493091"/>
              <a:gd name="connsiteY41" fmla="*/ 17121 h 493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493091" h="493091">
                <a:moveTo>
                  <a:pt x="34242" y="85606"/>
                </a:moveTo>
                <a:cubicBezTo>
                  <a:pt x="34242" y="57238"/>
                  <a:pt x="57238" y="34242"/>
                  <a:pt x="85606" y="34242"/>
                </a:cubicBezTo>
                <a:lnTo>
                  <a:pt x="193601" y="34242"/>
                </a:lnTo>
                <a:cubicBezTo>
                  <a:pt x="203058" y="34242"/>
                  <a:pt x="210723" y="26577"/>
                  <a:pt x="210723" y="17121"/>
                </a:cubicBezTo>
                <a:cubicBezTo>
                  <a:pt x="210723" y="7665"/>
                  <a:pt x="203058" y="0"/>
                  <a:pt x="193601" y="0"/>
                </a:cubicBezTo>
                <a:lnTo>
                  <a:pt x="85606" y="0"/>
                </a:lnTo>
                <a:cubicBezTo>
                  <a:pt x="38327" y="0"/>
                  <a:pt x="0" y="38327"/>
                  <a:pt x="0" y="85606"/>
                </a:cubicBezTo>
                <a:lnTo>
                  <a:pt x="0" y="407485"/>
                </a:lnTo>
                <a:cubicBezTo>
                  <a:pt x="0" y="454764"/>
                  <a:pt x="38327" y="493091"/>
                  <a:pt x="85606" y="493091"/>
                </a:cubicBezTo>
                <a:lnTo>
                  <a:pt x="407485" y="493091"/>
                </a:lnTo>
                <a:cubicBezTo>
                  <a:pt x="454764" y="493091"/>
                  <a:pt x="493091" y="454764"/>
                  <a:pt x="493091" y="407485"/>
                </a:cubicBezTo>
                <a:lnTo>
                  <a:pt x="493091" y="299490"/>
                </a:lnTo>
                <a:cubicBezTo>
                  <a:pt x="493091" y="290034"/>
                  <a:pt x="485426" y="282369"/>
                  <a:pt x="475970" y="282369"/>
                </a:cubicBezTo>
                <a:cubicBezTo>
                  <a:pt x="466514" y="282369"/>
                  <a:pt x="458849" y="290034"/>
                  <a:pt x="458849" y="299490"/>
                </a:cubicBezTo>
                <a:lnTo>
                  <a:pt x="458849" y="407485"/>
                </a:lnTo>
                <a:cubicBezTo>
                  <a:pt x="458849" y="435853"/>
                  <a:pt x="435853" y="458849"/>
                  <a:pt x="407485" y="458849"/>
                </a:cubicBezTo>
                <a:lnTo>
                  <a:pt x="246546" y="458849"/>
                </a:lnTo>
                <a:lnTo>
                  <a:pt x="246546" y="318453"/>
                </a:lnTo>
                <a:cubicBezTo>
                  <a:pt x="246546" y="278739"/>
                  <a:pt x="214351" y="246544"/>
                  <a:pt x="174636" y="246544"/>
                </a:cubicBezTo>
                <a:lnTo>
                  <a:pt x="34242" y="246544"/>
                </a:lnTo>
                <a:lnTo>
                  <a:pt x="34242" y="85606"/>
                </a:lnTo>
                <a:close/>
                <a:moveTo>
                  <a:pt x="34242" y="280787"/>
                </a:moveTo>
                <a:lnTo>
                  <a:pt x="174636" y="280787"/>
                </a:lnTo>
                <a:cubicBezTo>
                  <a:pt x="195439" y="280787"/>
                  <a:pt x="212303" y="297650"/>
                  <a:pt x="212303" y="318453"/>
                </a:cubicBezTo>
                <a:lnTo>
                  <a:pt x="212303" y="458849"/>
                </a:lnTo>
                <a:lnTo>
                  <a:pt x="85606" y="458849"/>
                </a:lnTo>
                <a:cubicBezTo>
                  <a:pt x="57238" y="458849"/>
                  <a:pt x="34242" y="435853"/>
                  <a:pt x="34242" y="407485"/>
                </a:cubicBezTo>
                <a:lnTo>
                  <a:pt x="34242" y="280787"/>
                </a:lnTo>
                <a:close/>
                <a:moveTo>
                  <a:pt x="287637" y="17121"/>
                </a:moveTo>
                <a:cubicBezTo>
                  <a:pt x="287637" y="7665"/>
                  <a:pt x="295301" y="0"/>
                  <a:pt x="304758" y="0"/>
                </a:cubicBezTo>
                <a:lnTo>
                  <a:pt x="475967" y="0"/>
                </a:lnTo>
                <a:cubicBezTo>
                  <a:pt x="485424" y="0"/>
                  <a:pt x="493089" y="7665"/>
                  <a:pt x="493089" y="17121"/>
                </a:cubicBezTo>
                <a:lnTo>
                  <a:pt x="493089" y="188333"/>
                </a:lnTo>
                <a:cubicBezTo>
                  <a:pt x="493089" y="197790"/>
                  <a:pt x="485424" y="205455"/>
                  <a:pt x="475967" y="205455"/>
                </a:cubicBezTo>
                <a:cubicBezTo>
                  <a:pt x="466512" y="205455"/>
                  <a:pt x="458846" y="197790"/>
                  <a:pt x="458846" y="188333"/>
                </a:cubicBezTo>
                <a:lnTo>
                  <a:pt x="458846" y="58456"/>
                </a:lnTo>
                <a:lnTo>
                  <a:pt x="316865" y="200439"/>
                </a:lnTo>
                <a:cubicBezTo>
                  <a:pt x="310178" y="207124"/>
                  <a:pt x="299338" y="207124"/>
                  <a:pt x="292651" y="200439"/>
                </a:cubicBezTo>
                <a:cubicBezTo>
                  <a:pt x="285966" y="193752"/>
                  <a:pt x="285966" y="182911"/>
                  <a:pt x="292651" y="176225"/>
                </a:cubicBezTo>
                <a:lnTo>
                  <a:pt x="434634" y="34242"/>
                </a:lnTo>
                <a:lnTo>
                  <a:pt x="304758" y="34242"/>
                </a:lnTo>
                <a:cubicBezTo>
                  <a:pt x="295301" y="34242"/>
                  <a:pt x="287637" y="26577"/>
                  <a:pt x="287637" y="17121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1369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15" name="Graphic 25" descr="Eraser&#10;Keyword: fluent-icon;&#10;Metaphor: undo, remove, delete;&#10;&#10;Used in erasing content scenarios. Contains size modifiers.">
            <a:extLst>
              <a:ext uri="{FF2B5EF4-FFF2-40B4-BE49-F238E27FC236}">
                <a16:creationId xmlns:a16="http://schemas.microsoft.com/office/drawing/2014/main" id="{73ECE2EB-CB03-DDEE-CC21-7805C0CED389}"/>
              </a:ext>
            </a:extLst>
          </p:cNvPr>
          <p:cNvSpPr/>
          <p:nvPr/>
        </p:nvSpPr>
        <p:spPr>
          <a:xfrm>
            <a:off x="7239112" y="5661200"/>
            <a:ext cx="520342" cy="520342"/>
          </a:xfrm>
          <a:custGeom>
            <a:avLst/>
            <a:gdLst>
              <a:gd name="connsiteX0" fmla="*/ 366182 w 520342"/>
              <a:gd name="connsiteY0" fmla="*/ 18053 h 520342"/>
              <a:gd name="connsiteX1" fmla="*/ 502292 w 520342"/>
              <a:gd name="connsiteY1" fmla="*/ 154160 h 520342"/>
              <a:gd name="connsiteX2" fmla="*/ 502292 w 520342"/>
              <a:gd name="connsiteY2" fmla="*/ 241328 h 520342"/>
              <a:gd name="connsiteX3" fmla="*/ 264463 w 520342"/>
              <a:gd name="connsiteY3" fmla="*/ 479121 h 520342"/>
              <a:gd name="connsiteX4" fmla="*/ 431506 w 520342"/>
              <a:gd name="connsiteY4" fmla="*/ 479127 h 520342"/>
              <a:gd name="connsiteX5" fmla="*/ 451865 w 520342"/>
              <a:gd name="connsiteY5" fmla="*/ 496883 h 520342"/>
              <a:gd name="connsiteX6" fmla="*/ 452051 w 520342"/>
              <a:gd name="connsiteY6" fmla="*/ 499672 h 520342"/>
              <a:gd name="connsiteX7" fmla="*/ 434294 w 520342"/>
              <a:gd name="connsiteY7" fmla="*/ 520029 h 520342"/>
              <a:gd name="connsiteX8" fmla="*/ 431506 w 520342"/>
              <a:gd name="connsiteY8" fmla="*/ 520218 h 520342"/>
              <a:gd name="connsiteX9" fmla="*/ 201123 w 520342"/>
              <a:gd name="connsiteY9" fmla="*/ 520250 h 520342"/>
              <a:gd name="connsiteX10" fmla="*/ 154161 w 520342"/>
              <a:gd name="connsiteY10" fmla="*/ 502291 h 520342"/>
              <a:gd name="connsiteX11" fmla="*/ 18053 w 520342"/>
              <a:gd name="connsiteY11" fmla="*/ 366181 h 520342"/>
              <a:gd name="connsiteX12" fmla="*/ 18053 w 520342"/>
              <a:gd name="connsiteY12" fmla="*/ 279017 h 520342"/>
              <a:gd name="connsiteX13" fmla="*/ 279014 w 520342"/>
              <a:gd name="connsiteY13" fmla="*/ 18053 h 520342"/>
              <a:gd name="connsiteX14" fmla="*/ 366182 w 520342"/>
              <a:gd name="connsiteY14" fmla="*/ 18053 h 520342"/>
              <a:gd name="connsiteX15" fmla="*/ 87825 w 520342"/>
              <a:gd name="connsiteY15" fmla="*/ 267311 h 520342"/>
              <a:gd name="connsiteX16" fmla="*/ 47109 w 520342"/>
              <a:gd name="connsiteY16" fmla="*/ 308071 h 520342"/>
              <a:gd name="connsiteX17" fmla="*/ 47109 w 520342"/>
              <a:gd name="connsiteY17" fmla="*/ 337127 h 520342"/>
              <a:gd name="connsiteX18" fmla="*/ 183216 w 520342"/>
              <a:gd name="connsiteY18" fmla="*/ 473234 h 520342"/>
              <a:gd name="connsiteX19" fmla="*/ 197744 w 520342"/>
              <a:gd name="connsiteY19" fmla="*/ 479253 h 520342"/>
              <a:gd name="connsiteX20" fmla="*/ 198535 w 520342"/>
              <a:gd name="connsiteY20" fmla="*/ 479127 h 520342"/>
              <a:gd name="connsiteX21" fmla="*/ 199590 w 520342"/>
              <a:gd name="connsiteY21" fmla="*/ 479170 h 520342"/>
              <a:gd name="connsiteX22" fmla="*/ 212272 w 520342"/>
              <a:gd name="connsiteY22" fmla="*/ 473234 h 520342"/>
              <a:gd name="connsiteX23" fmla="*/ 252985 w 520342"/>
              <a:gd name="connsiteY23" fmla="*/ 432497 h 520342"/>
              <a:gd name="connsiteX24" fmla="*/ 87825 w 520342"/>
              <a:gd name="connsiteY24" fmla="*/ 267311 h 520342"/>
              <a:gd name="connsiteX25" fmla="*/ 308071 w 520342"/>
              <a:gd name="connsiteY25" fmla="*/ 47109 h 520342"/>
              <a:gd name="connsiteX26" fmla="*/ 116890 w 520342"/>
              <a:gd name="connsiteY26" fmla="*/ 238246 h 520342"/>
              <a:gd name="connsiteX27" fmla="*/ 282050 w 520342"/>
              <a:gd name="connsiteY27" fmla="*/ 403432 h 520342"/>
              <a:gd name="connsiteX28" fmla="*/ 473235 w 520342"/>
              <a:gd name="connsiteY28" fmla="*/ 212272 h 520342"/>
              <a:gd name="connsiteX29" fmla="*/ 473235 w 520342"/>
              <a:gd name="connsiteY29" fmla="*/ 183216 h 520342"/>
              <a:gd name="connsiteX30" fmla="*/ 337128 w 520342"/>
              <a:gd name="connsiteY30" fmla="*/ 47109 h 520342"/>
              <a:gd name="connsiteX31" fmla="*/ 308071 w 520342"/>
              <a:gd name="connsiteY31" fmla="*/ 47109 h 5203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520342" h="520342">
                <a:moveTo>
                  <a:pt x="366182" y="18053"/>
                </a:moveTo>
                <a:lnTo>
                  <a:pt x="502292" y="154160"/>
                </a:lnTo>
                <a:cubicBezTo>
                  <a:pt x="526360" y="178231"/>
                  <a:pt x="526360" y="217257"/>
                  <a:pt x="502292" y="241328"/>
                </a:cubicBezTo>
                <a:lnTo>
                  <a:pt x="264463" y="479121"/>
                </a:lnTo>
                <a:lnTo>
                  <a:pt x="431506" y="479127"/>
                </a:lnTo>
                <a:cubicBezTo>
                  <a:pt x="441907" y="479127"/>
                  <a:pt x="450503" y="486855"/>
                  <a:pt x="451865" y="496883"/>
                </a:cubicBezTo>
                <a:lnTo>
                  <a:pt x="452051" y="499672"/>
                </a:lnTo>
                <a:cubicBezTo>
                  <a:pt x="452051" y="510074"/>
                  <a:pt x="444323" y="518670"/>
                  <a:pt x="434294" y="520029"/>
                </a:cubicBezTo>
                <a:lnTo>
                  <a:pt x="431506" y="520218"/>
                </a:lnTo>
                <a:lnTo>
                  <a:pt x="201123" y="520250"/>
                </a:lnTo>
                <a:cubicBezTo>
                  <a:pt x="184242" y="521171"/>
                  <a:pt x="167055" y="515185"/>
                  <a:pt x="154161" y="502291"/>
                </a:cubicBezTo>
                <a:lnTo>
                  <a:pt x="18053" y="366181"/>
                </a:lnTo>
                <a:cubicBezTo>
                  <a:pt x="-6018" y="342113"/>
                  <a:pt x="-6018" y="303085"/>
                  <a:pt x="18053" y="279017"/>
                </a:cubicBezTo>
                <a:lnTo>
                  <a:pt x="279014" y="18053"/>
                </a:lnTo>
                <a:cubicBezTo>
                  <a:pt x="303085" y="-6018"/>
                  <a:pt x="342111" y="-6018"/>
                  <a:pt x="366182" y="18053"/>
                </a:cubicBezTo>
                <a:close/>
                <a:moveTo>
                  <a:pt x="87825" y="267311"/>
                </a:moveTo>
                <a:lnTo>
                  <a:pt x="47109" y="308071"/>
                </a:lnTo>
                <a:cubicBezTo>
                  <a:pt x="39085" y="316094"/>
                  <a:pt x="39085" y="329104"/>
                  <a:pt x="47109" y="337127"/>
                </a:cubicBezTo>
                <a:lnTo>
                  <a:pt x="183216" y="473234"/>
                </a:lnTo>
                <a:cubicBezTo>
                  <a:pt x="187228" y="477247"/>
                  <a:pt x="192486" y="479253"/>
                  <a:pt x="197744" y="479253"/>
                </a:cubicBezTo>
                <a:lnTo>
                  <a:pt x="198535" y="479127"/>
                </a:lnTo>
                <a:lnTo>
                  <a:pt x="199590" y="479170"/>
                </a:lnTo>
                <a:cubicBezTo>
                  <a:pt x="204217" y="478754"/>
                  <a:pt x="208730" y="476776"/>
                  <a:pt x="212272" y="473234"/>
                </a:cubicBezTo>
                <a:lnTo>
                  <a:pt x="252985" y="432497"/>
                </a:lnTo>
                <a:lnTo>
                  <a:pt x="87825" y="267311"/>
                </a:lnTo>
                <a:close/>
                <a:moveTo>
                  <a:pt x="308071" y="47109"/>
                </a:moveTo>
                <a:lnTo>
                  <a:pt x="116890" y="238246"/>
                </a:lnTo>
                <a:lnTo>
                  <a:pt x="282050" y="403432"/>
                </a:lnTo>
                <a:lnTo>
                  <a:pt x="473235" y="212272"/>
                </a:lnTo>
                <a:cubicBezTo>
                  <a:pt x="481258" y="204248"/>
                  <a:pt x="481258" y="191239"/>
                  <a:pt x="473235" y="183216"/>
                </a:cubicBezTo>
                <a:lnTo>
                  <a:pt x="337128" y="47109"/>
                </a:lnTo>
                <a:cubicBezTo>
                  <a:pt x="329104" y="39085"/>
                  <a:pt x="316095" y="39085"/>
                  <a:pt x="308071" y="47109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16" name="Graphic 29" descr="Drag&#10;Keyword: fluent-icon;&#10;Metaphor: point, direction, position;&#10;&#10;Used to represent cursor moving. Old metaphor, suggest using Arrow Move.">
            <a:extLst>
              <a:ext uri="{FF2B5EF4-FFF2-40B4-BE49-F238E27FC236}">
                <a16:creationId xmlns:a16="http://schemas.microsoft.com/office/drawing/2014/main" id="{D0DC4852-BF37-B49A-27A4-85CC9CC63783}"/>
              </a:ext>
            </a:extLst>
          </p:cNvPr>
          <p:cNvSpPr/>
          <p:nvPr/>
        </p:nvSpPr>
        <p:spPr>
          <a:xfrm>
            <a:off x="8104187" y="5606145"/>
            <a:ext cx="657350" cy="657392"/>
          </a:xfrm>
          <a:custGeom>
            <a:avLst/>
            <a:gdLst>
              <a:gd name="connsiteX0" fmla="*/ 328683 w 657350"/>
              <a:gd name="connsiteY0" fmla="*/ 476648 h 657392"/>
              <a:gd name="connsiteX1" fmla="*/ 353110 w 657350"/>
              <a:gd name="connsiteY1" fmla="*/ 497956 h 657392"/>
              <a:gd name="connsiteX2" fmla="*/ 353337 w 657350"/>
              <a:gd name="connsiteY2" fmla="*/ 501303 h 657392"/>
              <a:gd name="connsiteX3" fmla="*/ 353337 w 657350"/>
              <a:gd name="connsiteY3" fmla="*/ 573228 h 657392"/>
              <a:gd name="connsiteX4" fmla="*/ 376996 w 657350"/>
              <a:gd name="connsiteY4" fmla="*/ 549616 h 657392"/>
              <a:gd name="connsiteX5" fmla="*/ 409096 w 657350"/>
              <a:gd name="connsiteY5" fmla="*/ 547229 h 657392"/>
              <a:gd name="connsiteX6" fmla="*/ 411861 w 657350"/>
              <a:gd name="connsiteY6" fmla="*/ 549616 h 657392"/>
              <a:gd name="connsiteX7" fmla="*/ 414247 w 657350"/>
              <a:gd name="connsiteY7" fmla="*/ 581716 h 657392"/>
              <a:gd name="connsiteX8" fmla="*/ 411861 w 657350"/>
              <a:gd name="connsiteY8" fmla="*/ 584481 h 657392"/>
              <a:gd name="connsiteX9" fmla="*/ 346115 w 657350"/>
              <a:gd name="connsiteY9" fmla="*/ 650226 h 657392"/>
              <a:gd name="connsiteX10" fmla="*/ 344863 w 657350"/>
              <a:gd name="connsiteY10" fmla="*/ 651397 h 657392"/>
              <a:gd name="connsiteX11" fmla="*/ 342489 w 657350"/>
              <a:gd name="connsiteY11" fmla="*/ 653224 h 657392"/>
              <a:gd name="connsiteX12" fmla="*/ 339373 w 657350"/>
              <a:gd name="connsiteY12" fmla="*/ 655019 h 657392"/>
              <a:gd name="connsiteX13" fmla="*/ 336529 w 657350"/>
              <a:gd name="connsiteY13" fmla="*/ 656173 h 657392"/>
              <a:gd name="connsiteX14" fmla="*/ 333163 w 657350"/>
              <a:gd name="connsiteY14" fmla="*/ 657041 h 657392"/>
              <a:gd name="connsiteX15" fmla="*/ 330372 w 657350"/>
              <a:gd name="connsiteY15" fmla="*/ 657393 h 657392"/>
              <a:gd name="connsiteX16" fmla="*/ 326988 w 657350"/>
              <a:gd name="connsiteY16" fmla="*/ 657393 h 657392"/>
              <a:gd name="connsiteX17" fmla="*/ 323049 w 657350"/>
              <a:gd name="connsiteY17" fmla="*/ 656801 h 657392"/>
              <a:gd name="connsiteX18" fmla="*/ 320817 w 657350"/>
              <a:gd name="connsiteY18" fmla="*/ 656166 h 657392"/>
              <a:gd name="connsiteX19" fmla="*/ 318882 w 657350"/>
              <a:gd name="connsiteY19" fmla="*/ 655423 h 657392"/>
              <a:gd name="connsiteX20" fmla="*/ 316551 w 657350"/>
              <a:gd name="connsiteY20" fmla="*/ 654263 h 657392"/>
              <a:gd name="connsiteX21" fmla="*/ 314865 w 657350"/>
              <a:gd name="connsiteY21" fmla="*/ 653214 h 657392"/>
              <a:gd name="connsiteX22" fmla="*/ 313837 w 657350"/>
              <a:gd name="connsiteY22" fmla="*/ 652478 h 657392"/>
              <a:gd name="connsiteX23" fmla="*/ 311249 w 657350"/>
              <a:gd name="connsiteY23" fmla="*/ 650226 h 657392"/>
              <a:gd name="connsiteX24" fmla="*/ 245504 w 657350"/>
              <a:gd name="connsiteY24" fmla="*/ 584481 h 657392"/>
              <a:gd name="connsiteX25" fmla="*/ 245504 w 657350"/>
              <a:gd name="connsiteY25" fmla="*/ 549616 h 657392"/>
              <a:gd name="connsiteX26" fmla="*/ 277605 w 657350"/>
              <a:gd name="connsiteY26" fmla="*/ 547229 h 657392"/>
              <a:gd name="connsiteX27" fmla="*/ 280371 w 657350"/>
              <a:gd name="connsiteY27" fmla="*/ 549616 h 657392"/>
              <a:gd name="connsiteX28" fmla="*/ 304028 w 657350"/>
              <a:gd name="connsiteY28" fmla="*/ 573261 h 657392"/>
              <a:gd name="connsiteX29" fmla="*/ 304028 w 657350"/>
              <a:gd name="connsiteY29" fmla="*/ 501303 h 657392"/>
              <a:gd name="connsiteX30" fmla="*/ 325337 w 657350"/>
              <a:gd name="connsiteY30" fmla="*/ 476872 h 657392"/>
              <a:gd name="connsiteX31" fmla="*/ 328683 w 657350"/>
              <a:gd name="connsiteY31" fmla="*/ 476648 h 657392"/>
              <a:gd name="connsiteX32" fmla="*/ 328683 w 657350"/>
              <a:gd name="connsiteY32" fmla="*/ 230103 h 657392"/>
              <a:gd name="connsiteX33" fmla="*/ 427301 w 657350"/>
              <a:gd name="connsiteY33" fmla="*/ 328721 h 657392"/>
              <a:gd name="connsiteX34" fmla="*/ 328683 w 657350"/>
              <a:gd name="connsiteY34" fmla="*/ 427339 h 657392"/>
              <a:gd name="connsiteX35" fmla="*/ 230064 w 657350"/>
              <a:gd name="connsiteY35" fmla="*/ 328721 h 657392"/>
              <a:gd name="connsiteX36" fmla="*/ 328683 w 657350"/>
              <a:gd name="connsiteY36" fmla="*/ 230103 h 657392"/>
              <a:gd name="connsiteX37" fmla="*/ 549578 w 657350"/>
              <a:gd name="connsiteY37" fmla="*/ 245542 h 657392"/>
              <a:gd name="connsiteX38" fmla="*/ 581678 w 657350"/>
              <a:gd name="connsiteY38" fmla="*/ 243155 h 657392"/>
              <a:gd name="connsiteX39" fmla="*/ 584442 w 657350"/>
              <a:gd name="connsiteY39" fmla="*/ 245542 h 657392"/>
              <a:gd name="connsiteX40" fmla="*/ 650188 w 657350"/>
              <a:gd name="connsiteY40" fmla="*/ 311288 h 657392"/>
              <a:gd name="connsiteX41" fmla="*/ 651358 w 657350"/>
              <a:gd name="connsiteY41" fmla="*/ 312542 h 657392"/>
              <a:gd name="connsiteX42" fmla="*/ 653186 w 657350"/>
              <a:gd name="connsiteY42" fmla="*/ 314913 h 657392"/>
              <a:gd name="connsiteX43" fmla="*/ 654981 w 657350"/>
              <a:gd name="connsiteY43" fmla="*/ 318032 h 657392"/>
              <a:gd name="connsiteX44" fmla="*/ 656135 w 657350"/>
              <a:gd name="connsiteY44" fmla="*/ 320876 h 657392"/>
              <a:gd name="connsiteX45" fmla="*/ 657003 w 657350"/>
              <a:gd name="connsiteY45" fmla="*/ 324240 h 657392"/>
              <a:gd name="connsiteX46" fmla="*/ 657351 w 657350"/>
              <a:gd name="connsiteY46" fmla="*/ 327031 h 657392"/>
              <a:gd name="connsiteX47" fmla="*/ 657351 w 657350"/>
              <a:gd name="connsiteY47" fmla="*/ 330411 h 657392"/>
              <a:gd name="connsiteX48" fmla="*/ 656763 w 657350"/>
              <a:gd name="connsiteY48" fmla="*/ 334355 h 657392"/>
              <a:gd name="connsiteX49" fmla="*/ 656128 w 657350"/>
              <a:gd name="connsiteY49" fmla="*/ 336587 h 657392"/>
              <a:gd name="connsiteX50" fmla="*/ 655385 w 657350"/>
              <a:gd name="connsiteY50" fmla="*/ 338520 h 657392"/>
              <a:gd name="connsiteX51" fmla="*/ 654225 w 657350"/>
              <a:gd name="connsiteY51" fmla="*/ 340851 h 657392"/>
              <a:gd name="connsiteX52" fmla="*/ 653176 w 657350"/>
              <a:gd name="connsiteY52" fmla="*/ 342537 h 657392"/>
              <a:gd name="connsiteX53" fmla="*/ 652272 w 657350"/>
              <a:gd name="connsiteY53" fmla="*/ 343787 h 657392"/>
              <a:gd name="connsiteX54" fmla="*/ 650188 w 657350"/>
              <a:gd name="connsiteY54" fmla="*/ 346153 h 657392"/>
              <a:gd name="connsiteX55" fmla="*/ 584442 w 657350"/>
              <a:gd name="connsiteY55" fmla="*/ 411899 h 657392"/>
              <a:gd name="connsiteX56" fmla="*/ 549578 w 657350"/>
              <a:gd name="connsiteY56" fmla="*/ 411899 h 657392"/>
              <a:gd name="connsiteX57" fmla="*/ 547188 w 657350"/>
              <a:gd name="connsiteY57" fmla="*/ 379799 h 657392"/>
              <a:gd name="connsiteX58" fmla="*/ 549578 w 657350"/>
              <a:gd name="connsiteY58" fmla="*/ 377034 h 657392"/>
              <a:gd name="connsiteX59" fmla="*/ 573190 w 657350"/>
              <a:gd name="connsiteY59" fmla="*/ 353375 h 657392"/>
              <a:gd name="connsiteX60" fmla="*/ 501265 w 657350"/>
              <a:gd name="connsiteY60" fmla="*/ 353375 h 657392"/>
              <a:gd name="connsiteX61" fmla="*/ 476834 w 657350"/>
              <a:gd name="connsiteY61" fmla="*/ 332067 h 657392"/>
              <a:gd name="connsiteX62" fmla="*/ 476610 w 657350"/>
              <a:gd name="connsiteY62" fmla="*/ 328721 h 657392"/>
              <a:gd name="connsiteX63" fmla="*/ 497918 w 657350"/>
              <a:gd name="connsiteY63" fmla="*/ 304292 h 657392"/>
              <a:gd name="connsiteX64" fmla="*/ 501265 w 657350"/>
              <a:gd name="connsiteY64" fmla="*/ 304066 h 657392"/>
              <a:gd name="connsiteX65" fmla="*/ 573223 w 657350"/>
              <a:gd name="connsiteY65" fmla="*/ 304066 h 657392"/>
              <a:gd name="connsiteX66" fmla="*/ 549578 w 657350"/>
              <a:gd name="connsiteY66" fmla="*/ 280409 h 657392"/>
              <a:gd name="connsiteX67" fmla="*/ 547188 w 657350"/>
              <a:gd name="connsiteY67" fmla="*/ 248307 h 657392"/>
              <a:gd name="connsiteX68" fmla="*/ 549578 w 657350"/>
              <a:gd name="connsiteY68" fmla="*/ 245542 h 657392"/>
              <a:gd name="connsiteX69" fmla="*/ 72921 w 657350"/>
              <a:gd name="connsiteY69" fmla="*/ 245542 h 657392"/>
              <a:gd name="connsiteX70" fmla="*/ 107789 w 657350"/>
              <a:gd name="connsiteY70" fmla="*/ 245542 h 657392"/>
              <a:gd name="connsiteX71" fmla="*/ 110175 w 657350"/>
              <a:gd name="connsiteY71" fmla="*/ 277644 h 657392"/>
              <a:gd name="connsiteX72" fmla="*/ 107789 w 657350"/>
              <a:gd name="connsiteY72" fmla="*/ 280409 h 657392"/>
              <a:gd name="connsiteX73" fmla="*/ 84109 w 657350"/>
              <a:gd name="connsiteY73" fmla="*/ 304066 h 657392"/>
              <a:gd name="connsiteX74" fmla="*/ 156101 w 657350"/>
              <a:gd name="connsiteY74" fmla="*/ 304066 h 657392"/>
              <a:gd name="connsiteX75" fmla="*/ 180530 w 657350"/>
              <a:gd name="connsiteY75" fmla="*/ 325375 h 657392"/>
              <a:gd name="connsiteX76" fmla="*/ 180755 w 657350"/>
              <a:gd name="connsiteY76" fmla="*/ 328721 h 657392"/>
              <a:gd name="connsiteX77" fmla="*/ 159446 w 657350"/>
              <a:gd name="connsiteY77" fmla="*/ 353152 h 657392"/>
              <a:gd name="connsiteX78" fmla="*/ 156101 w 657350"/>
              <a:gd name="connsiteY78" fmla="*/ 353375 h 657392"/>
              <a:gd name="connsiteX79" fmla="*/ 84142 w 657350"/>
              <a:gd name="connsiteY79" fmla="*/ 353375 h 657392"/>
              <a:gd name="connsiteX80" fmla="*/ 107789 w 657350"/>
              <a:gd name="connsiteY80" fmla="*/ 377034 h 657392"/>
              <a:gd name="connsiteX81" fmla="*/ 110175 w 657350"/>
              <a:gd name="connsiteY81" fmla="*/ 409134 h 657392"/>
              <a:gd name="connsiteX82" fmla="*/ 107789 w 657350"/>
              <a:gd name="connsiteY82" fmla="*/ 411899 h 657392"/>
              <a:gd name="connsiteX83" fmla="*/ 75687 w 657350"/>
              <a:gd name="connsiteY83" fmla="*/ 414289 h 657392"/>
              <a:gd name="connsiteX84" fmla="*/ 72921 w 657350"/>
              <a:gd name="connsiteY84" fmla="*/ 411899 h 657392"/>
              <a:gd name="connsiteX85" fmla="*/ 7176 w 657350"/>
              <a:gd name="connsiteY85" fmla="*/ 346153 h 657392"/>
              <a:gd name="connsiteX86" fmla="*/ 4179 w 657350"/>
              <a:gd name="connsiteY86" fmla="*/ 342531 h 657392"/>
              <a:gd name="connsiteX87" fmla="*/ 2385 w 657350"/>
              <a:gd name="connsiteY87" fmla="*/ 339411 h 657392"/>
              <a:gd name="connsiteX88" fmla="*/ 1231 w 657350"/>
              <a:gd name="connsiteY88" fmla="*/ 336568 h 657392"/>
              <a:gd name="connsiteX89" fmla="*/ 363 w 657350"/>
              <a:gd name="connsiteY89" fmla="*/ 333201 h 657392"/>
              <a:gd name="connsiteX90" fmla="*/ 0 w 657350"/>
              <a:gd name="connsiteY90" fmla="*/ 330213 h 657392"/>
              <a:gd name="connsiteX91" fmla="*/ 3 w 657350"/>
              <a:gd name="connsiteY91" fmla="*/ 327174 h 657392"/>
              <a:gd name="connsiteX92" fmla="*/ 604 w 657350"/>
              <a:gd name="connsiteY92" fmla="*/ 323088 h 657392"/>
              <a:gd name="connsiteX93" fmla="*/ 1236 w 657350"/>
              <a:gd name="connsiteY93" fmla="*/ 320855 h 657392"/>
              <a:gd name="connsiteX94" fmla="*/ 1980 w 657350"/>
              <a:gd name="connsiteY94" fmla="*/ 318920 h 657392"/>
              <a:gd name="connsiteX95" fmla="*/ 3139 w 657350"/>
              <a:gd name="connsiteY95" fmla="*/ 316590 h 657392"/>
              <a:gd name="connsiteX96" fmla="*/ 4188 w 657350"/>
              <a:gd name="connsiteY96" fmla="*/ 314904 h 657392"/>
              <a:gd name="connsiteX97" fmla="*/ 4924 w 657350"/>
              <a:gd name="connsiteY97" fmla="*/ 313875 h 657392"/>
              <a:gd name="connsiteX98" fmla="*/ 7176 w 657350"/>
              <a:gd name="connsiteY98" fmla="*/ 311288 h 657392"/>
              <a:gd name="connsiteX99" fmla="*/ 72921 w 657350"/>
              <a:gd name="connsiteY99" fmla="*/ 245542 h 657392"/>
              <a:gd name="connsiteX100" fmla="*/ 328683 w 657350"/>
              <a:gd name="connsiteY100" fmla="*/ 279412 h 657392"/>
              <a:gd name="connsiteX101" fmla="*/ 279374 w 657350"/>
              <a:gd name="connsiteY101" fmla="*/ 328721 h 657392"/>
              <a:gd name="connsiteX102" fmla="*/ 328683 w 657350"/>
              <a:gd name="connsiteY102" fmla="*/ 378030 h 657392"/>
              <a:gd name="connsiteX103" fmla="*/ 377992 w 657350"/>
              <a:gd name="connsiteY103" fmla="*/ 328721 h 657392"/>
              <a:gd name="connsiteX104" fmla="*/ 328683 w 657350"/>
              <a:gd name="connsiteY104" fmla="*/ 279412 h 657392"/>
              <a:gd name="connsiteX105" fmla="*/ 324202 w 657350"/>
              <a:gd name="connsiteY105" fmla="*/ 402 h 657392"/>
              <a:gd name="connsiteX106" fmla="*/ 326402 w 657350"/>
              <a:gd name="connsiteY106" fmla="*/ 97 h 657392"/>
              <a:gd name="connsiteX107" fmla="*/ 329255 w 657350"/>
              <a:gd name="connsiteY107" fmla="*/ 0 h 657392"/>
              <a:gd name="connsiteX108" fmla="*/ 331227 w 657350"/>
              <a:gd name="connsiteY108" fmla="*/ 124 h 657392"/>
              <a:gd name="connsiteX109" fmla="*/ 334317 w 657350"/>
              <a:gd name="connsiteY109" fmla="*/ 642 h 657392"/>
              <a:gd name="connsiteX110" fmla="*/ 336549 w 657350"/>
              <a:gd name="connsiteY110" fmla="*/ 1275 h 657392"/>
              <a:gd name="connsiteX111" fmla="*/ 338482 w 657350"/>
              <a:gd name="connsiteY111" fmla="*/ 2019 h 657392"/>
              <a:gd name="connsiteX112" fmla="*/ 340813 w 657350"/>
              <a:gd name="connsiteY112" fmla="*/ 3178 h 657392"/>
              <a:gd name="connsiteX113" fmla="*/ 342499 w 657350"/>
              <a:gd name="connsiteY113" fmla="*/ 4226 h 657392"/>
              <a:gd name="connsiteX114" fmla="*/ 343748 w 657350"/>
              <a:gd name="connsiteY114" fmla="*/ 5131 h 657392"/>
              <a:gd name="connsiteX115" fmla="*/ 346115 w 657350"/>
              <a:gd name="connsiteY115" fmla="*/ 7215 h 657392"/>
              <a:gd name="connsiteX116" fmla="*/ 411861 w 657350"/>
              <a:gd name="connsiteY116" fmla="*/ 72960 h 657392"/>
              <a:gd name="connsiteX117" fmla="*/ 411861 w 657350"/>
              <a:gd name="connsiteY117" fmla="*/ 107827 h 657392"/>
              <a:gd name="connsiteX118" fmla="*/ 379760 w 657350"/>
              <a:gd name="connsiteY118" fmla="*/ 110214 h 657392"/>
              <a:gd name="connsiteX119" fmla="*/ 376996 w 657350"/>
              <a:gd name="connsiteY119" fmla="*/ 107827 h 657392"/>
              <a:gd name="connsiteX120" fmla="*/ 353337 w 657350"/>
              <a:gd name="connsiteY120" fmla="*/ 84181 h 657392"/>
              <a:gd name="connsiteX121" fmla="*/ 353337 w 657350"/>
              <a:gd name="connsiteY121" fmla="*/ 156139 h 657392"/>
              <a:gd name="connsiteX122" fmla="*/ 332029 w 657350"/>
              <a:gd name="connsiteY122" fmla="*/ 180569 h 657392"/>
              <a:gd name="connsiteX123" fmla="*/ 328683 w 657350"/>
              <a:gd name="connsiteY123" fmla="*/ 180794 h 657392"/>
              <a:gd name="connsiteX124" fmla="*/ 304253 w 657350"/>
              <a:gd name="connsiteY124" fmla="*/ 159484 h 657392"/>
              <a:gd name="connsiteX125" fmla="*/ 304028 w 657350"/>
              <a:gd name="connsiteY125" fmla="*/ 156139 h 657392"/>
              <a:gd name="connsiteX126" fmla="*/ 304028 w 657350"/>
              <a:gd name="connsiteY126" fmla="*/ 84148 h 657392"/>
              <a:gd name="connsiteX127" fmla="*/ 280371 w 657350"/>
              <a:gd name="connsiteY127" fmla="*/ 107827 h 657392"/>
              <a:gd name="connsiteX128" fmla="*/ 248269 w 657350"/>
              <a:gd name="connsiteY128" fmla="*/ 110214 h 657392"/>
              <a:gd name="connsiteX129" fmla="*/ 245504 w 657350"/>
              <a:gd name="connsiteY129" fmla="*/ 107827 h 657392"/>
              <a:gd name="connsiteX130" fmla="*/ 243117 w 657350"/>
              <a:gd name="connsiteY130" fmla="*/ 75725 h 657392"/>
              <a:gd name="connsiteX131" fmla="*/ 245504 w 657350"/>
              <a:gd name="connsiteY131" fmla="*/ 72960 h 657392"/>
              <a:gd name="connsiteX132" fmla="*/ 311249 w 657350"/>
              <a:gd name="connsiteY132" fmla="*/ 7215 h 657392"/>
              <a:gd name="connsiteX133" fmla="*/ 314874 w 657350"/>
              <a:gd name="connsiteY133" fmla="*/ 4218 h 657392"/>
              <a:gd name="connsiteX134" fmla="*/ 317993 w 657350"/>
              <a:gd name="connsiteY134" fmla="*/ 2424 h 657392"/>
              <a:gd name="connsiteX135" fmla="*/ 320837 w 657350"/>
              <a:gd name="connsiteY135" fmla="*/ 1269 h 657392"/>
              <a:gd name="connsiteX136" fmla="*/ 324202 w 657350"/>
              <a:gd name="connsiteY136" fmla="*/ 402 h 657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</a:cxnLst>
            <a:rect l="l" t="t" r="r" b="b"/>
            <a:pathLst>
              <a:path w="657350" h="657392">
                <a:moveTo>
                  <a:pt x="328683" y="476648"/>
                </a:moveTo>
                <a:cubicBezTo>
                  <a:pt x="341164" y="476648"/>
                  <a:pt x="351480" y="485925"/>
                  <a:pt x="353110" y="497956"/>
                </a:cubicBezTo>
                <a:lnTo>
                  <a:pt x="353337" y="501303"/>
                </a:lnTo>
                <a:lnTo>
                  <a:pt x="353337" y="573228"/>
                </a:lnTo>
                <a:lnTo>
                  <a:pt x="376996" y="549616"/>
                </a:lnTo>
                <a:cubicBezTo>
                  <a:pt x="385746" y="540862"/>
                  <a:pt x="399445" y="540066"/>
                  <a:pt x="409096" y="547229"/>
                </a:cubicBezTo>
                <a:lnTo>
                  <a:pt x="411861" y="549616"/>
                </a:lnTo>
                <a:cubicBezTo>
                  <a:pt x="420615" y="558367"/>
                  <a:pt x="421410" y="572065"/>
                  <a:pt x="414247" y="581716"/>
                </a:cubicBezTo>
                <a:lnTo>
                  <a:pt x="411861" y="584481"/>
                </a:lnTo>
                <a:lnTo>
                  <a:pt x="346115" y="650226"/>
                </a:lnTo>
                <a:lnTo>
                  <a:pt x="344863" y="651397"/>
                </a:lnTo>
                <a:lnTo>
                  <a:pt x="342489" y="653224"/>
                </a:lnTo>
                <a:lnTo>
                  <a:pt x="339373" y="655019"/>
                </a:lnTo>
                <a:lnTo>
                  <a:pt x="336529" y="656173"/>
                </a:lnTo>
                <a:lnTo>
                  <a:pt x="333163" y="657041"/>
                </a:lnTo>
                <a:lnTo>
                  <a:pt x="330372" y="657393"/>
                </a:lnTo>
                <a:lnTo>
                  <a:pt x="326988" y="657393"/>
                </a:lnTo>
                <a:lnTo>
                  <a:pt x="323049" y="656801"/>
                </a:lnTo>
                <a:lnTo>
                  <a:pt x="320817" y="656166"/>
                </a:lnTo>
                <a:lnTo>
                  <a:pt x="318882" y="655423"/>
                </a:lnTo>
                <a:lnTo>
                  <a:pt x="316551" y="654263"/>
                </a:lnTo>
                <a:lnTo>
                  <a:pt x="314865" y="653214"/>
                </a:lnTo>
                <a:lnTo>
                  <a:pt x="313837" y="652478"/>
                </a:lnTo>
                <a:cubicBezTo>
                  <a:pt x="312922" y="651788"/>
                  <a:pt x="312058" y="651035"/>
                  <a:pt x="311249" y="650226"/>
                </a:cubicBezTo>
                <a:lnTo>
                  <a:pt x="245504" y="584481"/>
                </a:lnTo>
                <a:cubicBezTo>
                  <a:pt x="235875" y="574852"/>
                  <a:pt x="235875" y="559244"/>
                  <a:pt x="245504" y="549616"/>
                </a:cubicBezTo>
                <a:cubicBezTo>
                  <a:pt x="254256" y="540862"/>
                  <a:pt x="267954" y="540066"/>
                  <a:pt x="277605" y="547229"/>
                </a:cubicBezTo>
                <a:lnTo>
                  <a:pt x="280371" y="549616"/>
                </a:lnTo>
                <a:lnTo>
                  <a:pt x="304028" y="573261"/>
                </a:lnTo>
                <a:lnTo>
                  <a:pt x="304028" y="501303"/>
                </a:lnTo>
                <a:cubicBezTo>
                  <a:pt x="304028" y="488821"/>
                  <a:pt x="313303" y="478506"/>
                  <a:pt x="325337" y="476872"/>
                </a:cubicBezTo>
                <a:lnTo>
                  <a:pt x="328683" y="476648"/>
                </a:lnTo>
                <a:close/>
                <a:moveTo>
                  <a:pt x="328683" y="230103"/>
                </a:moveTo>
                <a:cubicBezTo>
                  <a:pt x="383146" y="230103"/>
                  <a:pt x="427301" y="274256"/>
                  <a:pt x="427301" y="328721"/>
                </a:cubicBezTo>
                <a:cubicBezTo>
                  <a:pt x="427301" y="383188"/>
                  <a:pt x="383146" y="427339"/>
                  <a:pt x="328683" y="427339"/>
                </a:cubicBezTo>
                <a:cubicBezTo>
                  <a:pt x="274217" y="427339"/>
                  <a:pt x="230064" y="383188"/>
                  <a:pt x="230064" y="328721"/>
                </a:cubicBezTo>
                <a:cubicBezTo>
                  <a:pt x="230064" y="274256"/>
                  <a:pt x="274217" y="230103"/>
                  <a:pt x="328683" y="230103"/>
                </a:cubicBezTo>
                <a:close/>
                <a:moveTo>
                  <a:pt x="549578" y="245542"/>
                </a:moveTo>
                <a:cubicBezTo>
                  <a:pt x="558328" y="236789"/>
                  <a:pt x="572026" y="235993"/>
                  <a:pt x="581678" y="243155"/>
                </a:cubicBezTo>
                <a:lnTo>
                  <a:pt x="584442" y="245542"/>
                </a:lnTo>
                <a:lnTo>
                  <a:pt x="650188" y="311288"/>
                </a:lnTo>
                <a:lnTo>
                  <a:pt x="651358" y="312542"/>
                </a:lnTo>
                <a:lnTo>
                  <a:pt x="653186" y="314913"/>
                </a:lnTo>
                <a:lnTo>
                  <a:pt x="654981" y="318032"/>
                </a:lnTo>
                <a:lnTo>
                  <a:pt x="656135" y="320876"/>
                </a:lnTo>
                <a:lnTo>
                  <a:pt x="657003" y="324240"/>
                </a:lnTo>
                <a:lnTo>
                  <a:pt x="657351" y="327031"/>
                </a:lnTo>
                <a:lnTo>
                  <a:pt x="657351" y="330411"/>
                </a:lnTo>
                <a:lnTo>
                  <a:pt x="656763" y="334355"/>
                </a:lnTo>
                <a:lnTo>
                  <a:pt x="656128" y="336587"/>
                </a:lnTo>
                <a:lnTo>
                  <a:pt x="655385" y="338520"/>
                </a:lnTo>
                <a:lnTo>
                  <a:pt x="654225" y="340851"/>
                </a:lnTo>
                <a:lnTo>
                  <a:pt x="653176" y="342537"/>
                </a:lnTo>
                <a:lnTo>
                  <a:pt x="652272" y="343787"/>
                </a:lnTo>
                <a:lnTo>
                  <a:pt x="650188" y="346153"/>
                </a:lnTo>
                <a:lnTo>
                  <a:pt x="584442" y="411899"/>
                </a:lnTo>
                <a:cubicBezTo>
                  <a:pt x="574814" y="421527"/>
                  <a:pt x="559206" y="421527"/>
                  <a:pt x="549578" y="411899"/>
                </a:cubicBezTo>
                <a:cubicBezTo>
                  <a:pt x="540824" y="403148"/>
                  <a:pt x="540028" y="389450"/>
                  <a:pt x="547188" y="379799"/>
                </a:cubicBezTo>
                <a:lnTo>
                  <a:pt x="549578" y="377034"/>
                </a:lnTo>
                <a:lnTo>
                  <a:pt x="573190" y="353375"/>
                </a:lnTo>
                <a:lnTo>
                  <a:pt x="501265" y="353375"/>
                </a:lnTo>
                <a:cubicBezTo>
                  <a:pt x="488783" y="353375"/>
                  <a:pt x="478467" y="344099"/>
                  <a:pt x="476834" y="332067"/>
                </a:cubicBezTo>
                <a:lnTo>
                  <a:pt x="476610" y="328721"/>
                </a:lnTo>
                <a:cubicBezTo>
                  <a:pt x="476610" y="316239"/>
                  <a:pt x="485883" y="305924"/>
                  <a:pt x="497918" y="304292"/>
                </a:cubicBezTo>
                <a:lnTo>
                  <a:pt x="501265" y="304066"/>
                </a:lnTo>
                <a:lnTo>
                  <a:pt x="573223" y="304066"/>
                </a:lnTo>
                <a:lnTo>
                  <a:pt x="549578" y="280409"/>
                </a:lnTo>
                <a:cubicBezTo>
                  <a:pt x="540824" y="271656"/>
                  <a:pt x="540028" y="257959"/>
                  <a:pt x="547188" y="248307"/>
                </a:cubicBezTo>
                <a:lnTo>
                  <a:pt x="549578" y="245542"/>
                </a:lnTo>
                <a:close/>
                <a:moveTo>
                  <a:pt x="72921" y="245542"/>
                </a:moveTo>
                <a:cubicBezTo>
                  <a:pt x="82550" y="235914"/>
                  <a:pt x="98160" y="235914"/>
                  <a:pt x="107789" y="245542"/>
                </a:cubicBezTo>
                <a:cubicBezTo>
                  <a:pt x="116541" y="254295"/>
                  <a:pt x="117337" y="267992"/>
                  <a:pt x="110175" y="277644"/>
                </a:cubicBezTo>
                <a:lnTo>
                  <a:pt x="107789" y="280409"/>
                </a:lnTo>
                <a:lnTo>
                  <a:pt x="84109" y="304066"/>
                </a:lnTo>
                <a:lnTo>
                  <a:pt x="156101" y="304066"/>
                </a:lnTo>
                <a:cubicBezTo>
                  <a:pt x="168582" y="304066"/>
                  <a:pt x="178898" y="313342"/>
                  <a:pt x="180530" y="325375"/>
                </a:cubicBezTo>
                <a:lnTo>
                  <a:pt x="180755" y="328721"/>
                </a:lnTo>
                <a:cubicBezTo>
                  <a:pt x="180755" y="341203"/>
                  <a:pt x="171480" y="351518"/>
                  <a:pt x="159446" y="353152"/>
                </a:cubicBezTo>
                <a:lnTo>
                  <a:pt x="156101" y="353375"/>
                </a:lnTo>
                <a:lnTo>
                  <a:pt x="84142" y="353375"/>
                </a:lnTo>
                <a:lnTo>
                  <a:pt x="107789" y="377034"/>
                </a:lnTo>
                <a:cubicBezTo>
                  <a:pt x="116541" y="385785"/>
                  <a:pt x="117337" y="399483"/>
                  <a:pt x="110175" y="409134"/>
                </a:cubicBezTo>
                <a:lnTo>
                  <a:pt x="107789" y="411899"/>
                </a:lnTo>
                <a:cubicBezTo>
                  <a:pt x="99036" y="420653"/>
                  <a:pt x="85338" y="421448"/>
                  <a:pt x="75687" y="414289"/>
                </a:cubicBezTo>
                <a:lnTo>
                  <a:pt x="72921" y="411899"/>
                </a:lnTo>
                <a:lnTo>
                  <a:pt x="7176" y="346153"/>
                </a:lnTo>
                <a:lnTo>
                  <a:pt x="4179" y="342531"/>
                </a:lnTo>
                <a:lnTo>
                  <a:pt x="2385" y="339411"/>
                </a:lnTo>
                <a:lnTo>
                  <a:pt x="1231" y="336568"/>
                </a:lnTo>
                <a:lnTo>
                  <a:pt x="363" y="333201"/>
                </a:lnTo>
                <a:lnTo>
                  <a:pt x="0" y="330213"/>
                </a:lnTo>
                <a:lnTo>
                  <a:pt x="3" y="327174"/>
                </a:lnTo>
                <a:lnTo>
                  <a:pt x="604" y="323088"/>
                </a:lnTo>
                <a:lnTo>
                  <a:pt x="1236" y="320855"/>
                </a:lnTo>
                <a:lnTo>
                  <a:pt x="1980" y="318920"/>
                </a:lnTo>
                <a:lnTo>
                  <a:pt x="3139" y="316590"/>
                </a:lnTo>
                <a:lnTo>
                  <a:pt x="4188" y="314904"/>
                </a:lnTo>
                <a:lnTo>
                  <a:pt x="4924" y="313875"/>
                </a:lnTo>
                <a:cubicBezTo>
                  <a:pt x="5615" y="312961"/>
                  <a:pt x="6367" y="312096"/>
                  <a:pt x="7176" y="311288"/>
                </a:cubicBezTo>
                <a:lnTo>
                  <a:pt x="72921" y="245542"/>
                </a:lnTo>
                <a:close/>
                <a:moveTo>
                  <a:pt x="328683" y="279412"/>
                </a:moveTo>
                <a:cubicBezTo>
                  <a:pt x="301450" y="279412"/>
                  <a:pt x="279374" y="301488"/>
                  <a:pt x="279374" y="328721"/>
                </a:cubicBezTo>
                <a:cubicBezTo>
                  <a:pt x="279374" y="355953"/>
                  <a:pt x="301450" y="378030"/>
                  <a:pt x="328683" y="378030"/>
                </a:cubicBezTo>
                <a:cubicBezTo>
                  <a:pt x="355914" y="378030"/>
                  <a:pt x="377992" y="355953"/>
                  <a:pt x="377992" y="328721"/>
                </a:cubicBezTo>
                <a:cubicBezTo>
                  <a:pt x="377992" y="301488"/>
                  <a:pt x="355914" y="279412"/>
                  <a:pt x="328683" y="279412"/>
                </a:cubicBezTo>
                <a:close/>
                <a:moveTo>
                  <a:pt x="324202" y="402"/>
                </a:moveTo>
                <a:lnTo>
                  <a:pt x="326402" y="97"/>
                </a:lnTo>
                <a:lnTo>
                  <a:pt x="329255" y="0"/>
                </a:lnTo>
                <a:lnTo>
                  <a:pt x="331227" y="124"/>
                </a:lnTo>
                <a:lnTo>
                  <a:pt x="334317" y="642"/>
                </a:lnTo>
                <a:lnTo>
                  <a:pt x="336549" y="1275"/>
                </a:lnTo>
                <a:lnTo>
                  <a:pt x="338482" y="2019"/>
                </a:lnTo>
                <a:lnTo>
                  <a:pt x="340813" y="3178"/>
                </a:lnTo>
                <a:lnTo>
                  <a:pt x="342499" y="4226"/>
                </a:lnTo>
                <a:lnTo>
                  <a:pt x="343748" y="5131"/>
                </a:lnTo>
                <a:lnTo>
                  <a:pt x="346115" y="7215"/>
                </a:lnTo>
                <a:lnTo>
                  <a:pt x="411861" y="72960"/>
                </a:lnTo>
                <a:cubicBezTo>
                  <a:pt x="421489" y="82589"/>
                  <a:pt x="421489" y="98199"/>
                  <a:pt x="411861" y="107827"/>
                </a:cubicBezTo>
                <a:cubicBezTo>
                  <a:pt x="403110" y="116580"/>
                  <a:pt x="389412" y="117376"/>
                  <a:pt x="379760" y="110214"/>
                </a:cubicBezTo>
                <a:lnTo>
                  <a:pt x="376996" y="107827"/>
                </a:lnTo>
                <a:lnTo>
                  <a:pt x="353337" y="84181"/>
                </a:lnTo>
                <a:lnTo>
                  <a:pt x="353337" y="156139"/>
                </a:lnTo>
                <a:cubicBezTo>
                  <a:pt x="353337" y="168621"/>
                  <a:pt x="344061" y="178936"/>
                  <a:pt x="332029" y="180569"/>
                </a:cubicBezTo>
                <a:lnTo>
                  <a:pt x="328683" y="180794"/>
                </a:lnTo>
                <a:cubicBezTo>
                  <a:pt x="316201" y="180794"/>
                  <a:pt x="305885" y="171519"/>
                  <a:pt x="304253" y="159484"/>
                </a:cubicBezTo>
                <a:lnTo>
                  <a:pt x="304028" y="156139"/>
                </a:lnTo>
                <a:lnTo>
                  <a:pt x="304028" y="84148"/>
                </a:lnTo>
                <a:lnTo>
                  <a:pt x="280371" y="107827"/>
                </a:lnTo>
                <a:cubicBezTo>
                  <a:pt x="271618" y="116580"/>
                  <a:pt x="257921" y="117376"/>
                  <a:pt x="248269" y="110214"/>
                </a:cubicBezTo>
                <a:lnTo>
                  <a:pt x="245504" y="107827"/>
                </a:lnTo>
                <a:cubicBezTo>
                  <a:pt x="236751" y="99074"/>
                  <a:pt x="235955" y="85377"/>
                  <a:pt x="243117" y="75725"/>
                </a:cubicBezTo>
                <a:lnTo>
                  <a:pt x="245504" y="72960"/>
                </a:lnTo>
                <a:lnTo>
                  <a:pt x="311249" y="7215"/>
                </a:lnTo>
                <a:lnTo>
                  <a:pt x="314874" y="4218"/>
                </a:lnTo>
                <a:lnTo>
                  <a:pt x="317993" y="2424"/>
                </a:lnTo>
                <a:lnTo>
                  <a:pt x="320837" y="1269"/>
                </a:lnTo>
                <a:lnTo>
                  <a:pt x="324202" y="402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3286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17" name="Graphic 31" descr="Database Arrow Up&#10;Keyword: fluent-icon;&#10;Metaphor: data, information;&#10;&#10;Used in database scenarios.">
            <a:extLst>
              <a:ext uri="{FF2B5EF4-FFF2-40B4-BE49-F238E27FC236}">
                <a16:creationId xmlns:a16="http://schemas.microsoft.com/office/drawing/2014/main" id="{F6D76B96-6702-8185-92C1-5FF8062EEE1B}"/>
              </a:ext>
            </a:extLst>
          </p:cNvPr>
          <p:cNvSpPr/>
          <p:nvPr/>
        </p:nvSpPr>
        <p:spPr>
          <a:xfrm>
            <a:off x="9163372" y="5671826"/>
            <a:ext cx="493091" cy="558900"/>
          </a:xfrm>
          <a:custGeom>
            <a:avLst/>
            <a:gdLst>
              <a:gd name="connsiteX0" fmla="*/ 0 w 493091"/>
              <a:gd name="connsiteY0" fmla="*/ 98680 h 558900"/>
              <a:gd name="connsiteX1" fmla="*/ 62458 w 493091"/>
              <a:gd name="connsiteY1" fmla="*/ 25604 h 558900"/>
              <a:gd name="connsiteX2" fmla="*/ 197237 w 493091"/>
              <a:gd name="connsiteY2" fmla="*/ 62 h 558900"/>
              <a:gd name="connsiteX3" fmla="*/ 332015 w 493091"/>
              <a:gd name="connsiteY3" fmla="*/ 25604 h 558900"/>
              <a:gd name="connsiteX4" fmla="*/ 394473 w 493091"/>
              <a:gd name="connsiteY4" fmla="*/ 98680 h 558900"/>
              <a:gd name="connsiteX5" fmla="*/ 394473 w 493091"/>
              <a:gd name="connsiteY5" fmla="*/ 236979 h 558900"/>
              <a:gd name="connsiteX6" fmla="*/ 361600 w 493091"/>
              <a:gd name="connsiteY6" fmla="*/ 230911 h 558900"/>
              <a:gd name="connsiteX7" fmla="*/ 361600 w 493091"/>
              <a:gd name="connsiteY7" fmla="*/ 154564 h 558900"/>
              <a:gd name="connsiteX8" fmla="*/ 332015 w 493091"/>
              <a:gd name="connsiteY8" fmla="*/ 171822 h 558900"/>
              <a:gd name="connsiteX9" fmla="*/ 197237 w 493091"/>
              <a:gd name="connsiteY9" fmla="*/ 197298 h 558900"/>
              <a:gd name="connsiteX10" fmla="*/ 62458 w 493091"/>
              <a:gd name="connsiteY10" fmla="*/ 171756 h 558900"/>
              <a:gd name="connsiteX11" fmla="*/ 32873 w 493091"/>
              <a:gd name="connsiteY11" fmla="*/ 154564 h 558900"/>
              <a:gd name="connsiteX12" fmla="*/ 32873 w 493091"/>
              <a:gd name="connsiteY12" fmla="*/ 427407 h 558900"/>
              <a:gd name="connsiteX13" fmla="*/ 76199 w 493091"/>
              <a:gd name="connsiteY13" fmla="*/ 470569 h 558900"/>
              <a:gd name="connsiteX14" fmla="*/ 184068 w 493091"/>
              <a:gd name="connsiteY14" fmla="*/ 493136 h 558900"/>
              <a:gd name="connsiteX15" fmla="*/ 205734 w 493091"/>
              <a:gd name="connsiteY15" fmla="*/ 526081 h 558900"/>
              <a:gd name="connsiteX16" fmla="*/ 197237 w 493091"/>
              <a:gd name="connsiteY16" fmla="*/ 526025 h 558900"/>
              <a:gd name="connsiteX17" fmla="*/ 62458 w 493091"/>
              <a:gd name="connsiteY17" fmla="*/ 500483 h 558900"/>
              <a:gd name="connsiteX18" fmla="*/ 0 w 493091"/>
              <a:gd name="connsiteY18" fmla="*/ 427407 h 558900"/>
              <a:gd name="connsiteX19" fmla="*/ 0 w 493091"/>
              <a:gd name="connsiteY19" fmla="*/ 98680 h 558900"/>
              <a:gd name="connsiteX20" fmla="*/ 32873 w 493091"/>
              <a:gd name="connsiteY20" fmla="*/ 98680 h 558900"/>
              <a:gd name="connsiteX21" fmla="*/ 76199 w 493091"/>
              <a:gd name="connsiteY21" fmla="*/ 141842 h 558900"/>
              <a:gd name="connsiteX22" fmla="*/ 197237 w 493091"/>
              <a:gd name="connsiteY22" fmla="*/ 164425 h 558900"/>
              <a:gd name="connsiteX23" fmla="*/ 318274 w 493091"/>
              <a:gd name="connsiteY23" fmla="*/ 141842 h 558900"/>
              <a:gd name="connsiteX24" fmla="*/ 361600 w 493091"/>
              <a:gd name="connsiteY24" fmla="*/ 98680 h 558900"/>
              <a:gd name="connsiteX25" fmla="*/ 318274 w 493091"/>
              <a:gd name="connsiteY25" fmla="*/ 55518 h 558900"/>
              <a:gd name="connsiteX26" fmla="*/ 197237 w 493091"/>
              <a:gd name="connsiteY26" fmla="*/ 32934 h 558900"/>
              <a:gd name="connsiteX27" fmla="*/ 76199 w 493091"/>
              <a:gd name="connsiteY27" fmla="*/ 55518 h 558900"/>
              <a:gd name="connsiteX28" fmla="*/ 32873 w 493091"/>
              <a:gd name="connsiteY28" fmla="*/ 98680 h 558900"/>
              <a:gd name="connsiteX29" fmla="*/ 197237 w 493091"/>
              <a:gd name="connsiteY29" fmla="*/ 410974 h 558900"/>
              <a:gd name="connsiteX30" fmla="*/ 345164 w 493091"/>
              <a:gd name="connsiteY30" fmla="*/ 263046 h 558900"/>
              <a:gd name="connsiteX31" fmla="*/ 493091 w 493091"/>
              <a:gd name="connsiteY31" fmla="*/ 410974 h 558900"/>
              <a:gd name="connsiteX32" fmla="*/ 345164 w 493091"/>
              <a:gd name="connsiteY32" fmla="*/ 558901 h 558900"/>
              <a:gd name="connsiteX33" fmla="*/ 197237 w 493091"/>
              <a:gd name="connsiteY33" fmla="*/ 410974 h 558900"/>
              <a:gd name="connsiteX34" fmla="*/ 356801 w 493091"/>
              <a:gd name="connsiteY34" fmla="*/ 333617 h 558900"/>
              <a:gd name="connsiteX35" fmla="*/ 356715 w 493091"/>
              <a:gd name="connsiteY35" fmla="*/ 333535 h 558900"/>
              <a:gd name="connsiteX36" fmla="*/ 351456 w 493091"/>
              <a:gd name="connsiteY36" fmla="*/ 330038 h 558900"/>
              <a:gd name="connsiteX37" fmla="*/ 345263 w 493091"/>
              <a:gd name="connsiteY37" fmla="*/ 328792 h 558900"/>
              <a:gd name="connsiteX38" fmla="*/ 345164 w 493091"/>
              <a:gd name="connsiteY38" fmla="*/ 328792 h 558900"/>
              <a:gd name="connsiteX39" fmla="*/ 345065 w 493091"/>
              <a:gd name="connsiteY39" fmla="*/ 328792 h 558900"/>
              <a:gd name="connsiteX40" fmla="*/ 338872 w 493091"/>
              <a:gd name="connsiteY40" fmla="*/ 330038 h 558900"/>
              <a:gd name="connsiteX41" fmla="*/ 333540 w 493091"/>
              <a:gd name="connsiteY41" fmla="*/ 333604 h 558900"/>
              <a:gd name="connsiteX42" fmla="*/ 267795 w 493091"/>
              <a:gd name="connsiteY42" fmla="*/ 399350 h 558900"/>
              <a:gd name="connsiteX43" fmla="*/ 267795 w 493091"/>
              <a:gd name="connsiteY43" fmla="*/ 422597 h 558900"/>
              <a:gd name="connsiteX44" fmla="*/ 291042 w 493091"/>
              <a:gd name="connsiteY44" fmla="*/ 422597 h 558900"/>
              <a:gd name="connsiteX45" fmla="*/ 328728 w 493091"/>
              <a:gd name="connsiteY45" fmla="*/ 384909 h 558900"/>
              <a:gd name="connsiteX46" fmla="*/ 328728 w 493091"/>
              <a:gd name="connsiteY46" fmla="*/ 476719 h 558900"/>
              <a:gd name="connsiteX47" fmla="*/ 345164 w 493091"/>
              <a:gd name="connsiteY47" fmla="*/ 493156 h 558900"/>
              <a:gd name="connsiteX48" fmla="*/ 361600 w 493091"/>
              <a:gd name="connsiteY48" fmla="*/ 476719 h 558900"/>
              <a:gd name="connsiteX49" fmla="*/ 361600 w 493091"/>
              <a:gd name="connsiteY49" fmla="*/ 384909 h 558900"/>
              <a:gd name="connsiteX50" fmla="*/ 399286 w 493091"/>
              <a:gd name="connsiteY50" fmla="*/ 422597 h 558900"/>
              <a:gd name="connsiteX51" fmla="*/ 422533 w 493091"/>
              <a:gd name="connsiteY51" fmla="*/ 422597 h 558900"/>
              <a:gd name="connsiteX52" fmla="*/ 422533 w 493091"/>
              <a:gd name="connsiteY52" fmla="*/ 399350 h 558900"/>
              <a:gd name="connsiteX53" fmla="*/ 356801 w 493091"/>
              <a:gd name="connsiteY53" fmla="*/ 333617 h 55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493091" h="558900">
                <a:moveTo>
                  <a:pt x="0" y="98680"/>
                </a:moveTo>
                <a:cubicBezTo>
                  <a:pt x="0" y="65577"/>
                  <a:pt x="28764" y="40988"/>
                  <a:pt x="62458" y="25604"/>
                </a:cubicBezTo>
                <a:cubicBezTo>
                  <a:pt x="105138" y="7872"/>
                  <a:pt x="151028" y="-825"/>
                  <a:pt x="197237" y="62"/>
                </a:cubicBezTo>
                <a:cubicBezTo>
                  <a:pt x="243446" y="-825"/>
                  <a:pt x="289336" y="7872"/>
                  <a:pt x="332015" y="25604"/>
                </a:cubicBezTo>
                <a:cubicBezTo>
                  <a:pt x="365709" y="40988"/>
                  <a:pt x="394473" y="65577"/>
                  <a:pt x="394473" y="98680"/>
                </a:cubicBezTo>
                <a:lnTo>
                  <a:pt x="394473" y="236979"/>
                </a:lnTo>
                <a:cubicBezTo>
                  <a:pt x="383878" y="233983"/>
                  <a:pt x="372889" y="231928"/>
                  <a:pt x="361600" y="230911"/>
                </a:cubicBezTo>
                <a:lnTo>
                  <a:pt x="361600" y="154564"/>
                </a:lnTo>
                <a:cubicBezTo>
                  <a:pt x="352376" y="161347"/>
                  <a:pt x="342458" y="167131"/>
                  <a:pt x="332015" y="171822"/>
                </a:cubicBezTo>
                <a:cubicBezTo>
                  <a:pt x="289330" y="189532"/>
                  <a:pt x="243439" y="198206"/>
                  <a:pt x="197237" y="197298"/>
                </a:cubicBezTo>
                <a:cubicBezTo>
                  <a:pt x="151028" y="198185"/>
                  <a:pt x="105138" y="189488"/>
                  <a:pt x="62458" y="171756"/>
                </a:cubicBezTo>
                <a:cubicBezTo>
                  <a:pt x="52017" y="167087"/>
                  <a:pt x="42099" y="161323"/>
                  <a:pt x="32873" y="154564"/>
                </a:cubicBezTo>
                <a:lnTo>
                  <a:pt x="32873" y="427407"/>
                </a:lnTo>
                <a:cubicBezTo>
                  <a:pt x="32873" y="439701"/>
                  <a:pt x="44575" y="456170"/>
                  <a:pt x="76199" y="470569"/>
                </a:cubicBezTo>
                <a:cubicBezTo>
                  <a:pt x="110504" y="484648"/>
                  <a:pt x="147071" y="492284"/>
                  <a:pt x="184068" y="493136"/>
                </a:cubicBezTo>
                <a:cubicBezTo>
                  <a:pt x="190093" y="504924"/>
                  <a:pt x="197375" y="515966"/>
                  <a:pt x="205734" y="526081"/>
                </a:cubicBezTo>
                <a:cubicBezTo>
                  <a:pt x="202904" y="526097"/>
                  <a:pt x="200070" y="526081"/>
                  <a:pt x="197237" y="526025"/>
                </a:cubicBezTo>
                <a:cubicBezTo>
                  <a:pt x="151028" y="526913"/>
                  <a:pt x="105138" y="518214"/>
                  <a:pt x="62458" y="500483"/>
                </a:cubicBezTo>
                <a:cubicBezTo>
                  <a:pt x="28764" y="485098"/>
                  <a:pt x="0" y="460510"/>
                  <a:pt x="0" y="427407"/>
                </a:cubicBezTo>
                <a:lnTo>
                  <a:pt x="0" y="98680"/>
                </a:lnTo>
                <a:close/>
                <a:moveTo>
                  <a:pt x="32873" y="98680"/>
                </a:moveTo>
                <a:cubicBezTo>
                  <a:pt x="32873" y="110974"/>
                  <a:pt x="44575" y="127444"/>
                  <a:pt x="76199" y="141842"/>
                </a:cubicBezTo>
                <a:cubicBezTo>
                  <a:pt x="114569" y="157590"/>
                  <a:pt x="155769" y="165277"/>
                  <a:pt x="197237" y="164425"/>
                </a:cubicBezTo>
                <a:cubicBezTo>
                  <a:pt x="238705" y="165277"/>
                  <a:pt x="279905" y="157590"/>
                  <a:pt x="318274" y="141842"/>
                </a:cubicBezTo>
                <a:cubicBezTo>
                  <a:pt x="349898" y="127444"/>
                  <a:pt x="361600" y="110974"/>
                  <a:pt x="361600" y="98680"/>
                </a:cubicBezTo>
                <a:cubicBezTo>
                  <a:pt x="361600" y="86385"/>
                  <a:pt x="349898" y="69916"/>
                  <a:pt x="318274" y="55518"/>
                </a:cubicBezTo>
                <a:cubicBezTo>
                  <a:pt x="279905" y="39770"/>
                  <a:pt x="238705" y="32083"/>
                  <a:pt x="197237" y="32934"/>
                </a:cubicBezTo>
                <a:cubicBezTo>
                  <a:pt x="155769" y="32083"/>
                  <a:pt x="114569" y="39770"/>
                  <a:pt x="76199" y="55518"/>
                </a:cubicBezTo>
                <a:cubicBezTo>
                  <a:pt x="44575" y="69916"/>
                  <a:pt x="32873" y="86385"/>
                  <a:pt x="32873" y="98680"/>
                </a:cubicBezTo>
                <a:close/>
                <a:moveTo>
                  <a:pt x="197237" y="410974"/>
                </a:moveTo>
                <a:cubicBezTo>
                  <a:pt x="197237" y="329275"/>
                  <a:pt x="263465" y="263046"/>
                  <a:pt x="345164" y="263046"/>
                </a:cubicBezTo>
                <a:cubicBezTo>
                  <a:pt x="426863" y="263046"/>
                  <a:pt x="493091" y="329275"/>
                  <a:pt x="493091" y="410974"/>
                </a:cubicBezTo>
                <a:cubicBezTo>
                  <a:pt x="493091" y="492672"/>
                  <a:pt x="426863" y="558901"/>
                  <a:pt x="345164" y="558901"/>
                </a:cubicBezTo>
                <a:cubicBezTo>
                  <a:pt x="263465" y="558901"/>
                  <a:pt x="197237" y="492672"/>
                  <a:pt x="197237" y="410974"/>
                </a:cubicBezTo>
                <a:close/>
                <a:moveTo>
                  <a:pt x="356801" y="333617"/>
                </a:moveTo>
                <a:lnTo>
                  <a:pt x="356715" y="333535"/>
                </a:lnTo>
                <a:cubicBezTo>
                  <a:pt x="355157" y="331994"/>
                  <a:pt x="353366" y="330830"/>
                  <a:pt x="351456" y="330038"/>
                </a:cubicBezTo>
                <a:cubicBezTo>
                  <a:pt x="349546" y="329249"/>
                  <a:pt x="347455" y="328805"/>
                  <a:pt x="345263" y="328792"/>
                </a:cubicBezTo>
                <a:lnTo>
                  <a:pt x="345164" y="328792"/>
                </a:lnTo>
                <a:lnTo>
                  <a:pt x="345065" y="328792"/>
                </a:lnTo>
                <a:cubicBezTo>
                  <a:pt x="342873" y="328805"/>
                  <a:pt x="340782" y="329249"/>
                  <a:pt x="338872" y="330038"/>
                </a:cubicBezTo>
                <a:cubicBezTo>
                  <a:pt x="336933" y="330840"/>
                  <a:pt x="335118" y="332030"/>
                  <a:pt x="333540" y="333604"/>
                </a:cubicBezTo>
                <a:lnTo>
                  <a:pt x="267795" y="399350"/>
                </a:lnTo>
                <a:cubicBezTo>
                  <a:pt x="261378" y="405770"/>
                  <a:pt x="261378" y="416177"/>
                  <a:pt x="267795" y="422597"/>
                </a:cubicBezTo>
                <a:cubicBezTo>
                  <a:pt x="274215" y="429014"/>
                  <a:pt x="284622" y="429014"/>
                  <a:pt x="291042" y="422597"/>
                </a:cubicBezTo>
                <a:lnTo>
                  <a:pt x="328728" y="384909"/>
                </a:lnTo>
                <a:lnTo>
                  <a:pt x="328728" y="476719"/>
                </a:lnTo>
                <a:cubicBezTo>
                  <a:pt x="328728" y="485795"/>
                  <a:pt x="336088" y="493156"/>
                  <a:pt x="345164" y="493156"/>
                </a:cubicBezTo>
                <a:cubicBezTo>
                  <a:pt x="354240" y="493156"/>
                  <a:pt x="361600" y="485795"/>
                  <a:pt x="361600" y="476719"/>
                </a:cubicBezTo>
                <a:lnTo>
                  <a:pt x="361600" y="384909"/>
                </a:lnTo>
                <a:lnTo>
                  <a:pt x="399286" y="422597"/>
                </a:lnTo>
                <a:cubicBezTo>
                  <a:pt x="405706" y="429014"/>
                  <a:pt x="416113" y="429014"/>
                  <a:pt x="422533" y="422597"/>
                </a:cubicBezTo>
                <a:cubicBezTo>
                  <a:pt x="428950" y="416177"/>
                  <a:pt x="428950" y="405770"/>
                  <a:pt x="422533" y="399350"/>
                </a:cubicBezTo>
                <a:lnTo>
                  <a:pt x="356801" y="333617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3286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18" name="Graphic 37" descr="Delete Lines&#10;Keyword: fluent-icon;&#10;Metaphor: trash, can, remove, edit, byee;&#10;Action: destructive;&#10;&#10;Used in the deletion of content.">
            <a:extLst>
              <a:ext uri="{FF2B5EF4-FFF2-40B4-BE49-F238E27FC236}">
                <a16:creationId xmlns:a16="http://schemas.microsoft.com/office/drawing/2014/main" id="{33F4212A-995B-1E3C-A179-34E573D9D5B2}"/>
              </a:ext>
            </a:extLst>
          </p:cNvPr>
          <p:cNvSpPr/>
          <p:nvPr/>
        </p:nvSpPr>
        <p:spPr>
          <a:xfrm>
            <a:off x="10046136" y="5655454"/>
            <a:ext cx="542400" cy="575273"/>
          </a:xfrm>
          <a:custGeom>
            <a:avLst/>
            <a:gdLst>
              <a:gd name="connsiteX0" fmla="*/ 164364 w 542400"/>
              <a:gd name="connsiteY0" fmla="*/ 82182 h 575273"/>
              <a:gd name="connsiteX1" fmla="*/ 246546 w 542400"/>
              <a:gd name="connsiteY1" fmla="*/ 0 h 575273"/>
              <a:gd name="connsiteX2" fmla="*/ 328728 w 542400"/>
              <a:gd name="connsiteY2" fmla="*/ 82182 h 575273"/>
              <a:gd name="connsiteX3" fmla="*/ 476655 w 542400"/>
              <a:gd name="connsiteY3" fmla="*/ 82182 h 575273"/>
              <a:gd name="connsiteX4" fmla="*/ 493091 w 542400"/>
              <a:gd name="connsiteY4" fmla="*/ 98618 h 575273"/>
              <a:gd name="connsiteX5" fmla="*/ 476655 w 542400"/>
              <a:gd name="connsiteY5" fmla="*/ 115055 h 575273"/>
              <a:gd name="connsiteX6" fmla="*/ 458443 w 542400"/>
              <a:gd name="connsiteY6" fmla="*/ 115055 h 575273"/>
              <a:gd name="connsiteX7" fmla="*/ 428092 w 542400"/>
              <a:gd name="connsiteY7" fmla="*/ 378037 h 575273"/>
              <a:gd name="connsiteX8" fmla="*/ 394986 w 542400"/>
              <a:gd name="connsiteY8" fmla="*/ 378037 h 575273"/>
              <a:gd name="connsiteX9" fmla="*/ 425308 w 542400"/>
              <a:gd name="connsiteY9" fmla="*/ 115055 h 575273"/>
              <a:gd name="connsiteX10" fmla="*/ 67751 w 542400"/>
              <a:gd name="connsiteY10" fmla="*/ 115055 h 575273"/>
              <a:gd name="connsiteX11" fmla="*/ 109909 w 542400"/>
              <a:gd name="connsiteY11" fmla="*/ 480422 h 575273"/>
              <a:gd name="connsiteX12" fmla="*/ 142565 w 542400"/>
              <a:gd name="connsiteY12" fmla="*/ 509528 h 575273"/>
              <a:gd name="connsiteX13" fmla="*/ 315098 w 542400"/>
              <a:gd name="connsiteY13" fmla="*/ 509528 h 575273"/>
              <a:gd name="connsiteX14" fmla="*/ 324845 w 542400"/>
              <a:gd name="connsiteY14" fmla="*/ 525964 h 575273"/>
              <a:gd name="connsiteX15" fmla="*/ 315098 w 542400"/>
              <a:gd name="connsiteY15" fmla="*/ 542400 h 575273"/>
              <a:gd name="connsiteX16" fmla="*/ 142565 w 542400"/>
              <a:gd name="connsiteY16" fmla="*/ 542400 h 575273"/>
              <a:gd name="connsiteX17" fmla="*/ 77253 w 542400"/>
              <a:gd name="connsiteY17" fmla="*/ 484189 h 575273"/>
              <a:gd name="connsiteX18" fmla="*/ 34615 w 542400"/>
              <a:gd name="connsiteY18" fmla="*/ 115055 h 575273"/>
              <a:gd name="connsiteX19" fmla="*/ 16436 w 542400"/>
              <a:gd name="connsiteY19" fmla="*/ 115055 h 575273"/>
              <a:gd name="connsiteX20" fmla="*/ 265 w 542400"/>
              <a:gd name="connsiteY20" fmla="*/ 101573 h 575273"/>
              <a:gd name="connsiteX21" fmla="*/ 0 w 542400"/>
              <a:gd name="connsiteY21" fmla="*/ 98618 h 575273"/>
              <a:gd name="connsiteX22" fmla="*/ 16436 w 542400"/>
              <a:gd name="connsiteY22" fmla="*/ 82182 h 575273"/>
              <a:gd name="connsiteX23" fmla="*/ 164364 w 542400"/>
              <a:gd name="connsiteY23" fmla="*/ 82182 h 575273"/>
              <a:gd name="connsiteX24" fmla="*/ 295855 w 542400"/>
              <a:gd name="connsiteY24" fmla="*/ 82182 h 575273"/>
              <a:gd name="connsiteX25" fmla="*/ 246546 w 542400"/>
              <a:gd name="connsiteY25" fmla="*/ 32873 h 575273"/>
              <a:gd name="connsiteX26" fmla="*/ 197237 w 542400"/>
              <a:gd name="connsiteY26" fmla="*/ 82182 h 575273"/>
              <a:gd name="connsiteX27" fmla="*/ 295855 w 542400"/>
              <a:gd name="connsiteY27" fmla="*/ 82182 h 575273"/>
              <a:gd name="connsiteX28" fmla="*/ 361600 w 542400"/>
              <a:gd name="connsiteY28" fmla="*/ 476655 h 575273"/>
              <a:gd name="connsiteX29" fmla="*/ 345164 w 542400"/>
              <a:gd name="connsiteY29" fmla="*/ 493091 h 575273"/>
              <a:gd name="connsiteX30" fmla="*/ 357028 w 542400"/>
              <a:gd name="connsiteY30" fmla="*/ 508883 h 575273"/>
              <a:gd name="connsiteX31" fmla="*/ 361600 w 542400"/>
              <a:gd name="connsiteY31" fmla="*/ 509528 h 575273"/>
              <a:gd name="connsiteX32" fmla="*/ 525964 w 542400"/>
              <a:gd name="connsiteY32" fmla="*/ 509528 h 575273"/>
              <a:gd name="connsiteX33" fmla="*/ 542400 w 542400"/>
              <a:gd name="connsiteY33" fmla="*/ 493091 h 575273"/>
              <a:gd name="connsiteX34" fmla="*/ 525964 w 542400"/>
              <a:gd name="connsiteY34" fmla="*/ 476655 h 575273"/>
              <a:gd name="connsiteX35" fmla="*/ 361600 w 542400"/>
              <a:gd name="connsiteY35" fmla="*/ 476655 h 575273"/>
              <a:gd name="connsiteX36" fmla="*/ 361600 w 542400"/>
              <a:gd name="connsiteY36" fmla="*/ 410909 h 575273"/>
              <a:gd name="connsiteX37" fmla="*/ 345164 w 542400"/>
              <a:gd name="connsiteY37" fmla="*/ 427346 h 575273"/>
              <a:gd name="connsiteX38" fmla="*/ 361600 w 542400"/>
              <a:gd name="connsiteY38" fmla="*/ 443782 h 575273"/>
              <a:gd name="connsiteX39" fmla="*/ 525964 w 542400"/>
              <a:gd name="connsiteY39" fmla="*/ 443782 h 575273"/>
              <a:gd name="connsiteX40" fmla="*/ 542400 w 542400"/>
              <a:gd name="connsiteY40" fmla="*/ 427346 h 575273"/>
              <a:gd name="connsiteX41" fmla="*/ 525964 w 542400"/>
              <a:gd name="connsiteY41" fmla="*/ 410909 h 575273"/>
              <a:gd name="connsiteX42" fmla="*/ 361600 w 542400"/>
              <a:gd name="connsiteY42" fmla="*/ 410909 h 575273"/>
              <a:gd name="connsiteX43" fmla="*/ 345164 w 542400"/>
              <a:gd name="connsiteY43" fmla="*/ 558837 h 575273"/>
              <a:gd name="connsiteX44" fmla="*/ 361600 w 542400"/>
              <a:gd name="connsiteY44" fmla="*/ 542400 h 575273"/>
              <a:gd name="connsiteX45" fmla="*/ 525964 w 542400"/>
              <a:gd name="connsiteY45" fmla="*/ 542400 h 575273"/>
              <a:gd name="connsiteX46" fmla="*/ 542400 w 542400"/>
              <a:gd name="connsiteY46" fmla="*/ 558837 h 575273"/>
              <a:gd name="connsiteX47" fmla="*/ 525964 w 542400"/>
              <a:gd name="connsiteY47" fmla="*/ 575273 h 575273"/>
              <a:gd name="connsiteX48" fmla="*/ 361600 w 542400"/>
              <a:gd name="connsiteY48" fmla="*/ 575273 h 575273"/>
              <a:gd name="connsiteX49" fmla="*/ 345164 w 542400"/>
              <a:gd name="connsiteY49" fmla="*/ 558837 h 575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542400" h="575273">
                <a:moveTo>
                  <a:pt x="164364" y="82182"/>
                </a:moveTo>
                <a:cubicBezTo>
                  <a:pt x="164364" y="36794"/>
                  <a:pt x="201158" y="0"/>
                  <a:pt x="246546" y="0"/>
                </a:cubicBezTo>
                <a:cubicBezTo>
                  <a:pt x="291933" y="0"/>
                  <a:pt x="328728" y="36794"/>
                  <a:pt x="328728" y="82182"/>
                </a:cubicBezTo>
                <a:lnTo>
                  <a:pt x="476655" y="82182"/>
                </a:lnTo>
                <a:cubicBezTo>
                  <a:pt x="485731" y="82182"/>
                  <a:pt x="493091" y="89541"/>
                  <a:pt x="493091" y="98618"/>
                </a:cubicBezTo>
                <a:cubicBezTo>
                  <a:pt x="493091" y="107696"/>
                  <a:pt x="485731" y="115055"/>
                  <a:pt x="476655" y="115055"/>
                </a:cubicBezTo>
                <a:lnTo>
                  <a:pt x="458443" y="115055"/>
                </a:lnTo>
                <a:lnTo>
                  <a:pt x="428092" y="378037"/>
                </a:lnTo>
                <a:lnTo>
                  <a:pt x="394986" y="378037"/>
                </a:lnTo>
                <a:lnTo>
                  <a:pt x="425308" y="115055"/>
                </a:lnTo>
                <a:lnTo>
                  <a:pt x="67751" y="115055"/>
                </a:lnTo>
                <a:lnTo>
                  <a:pt x="109909" y="480422"/>
                </a:lnTo>
                <a:cubicBezTo>
                  <a:pt x="111823" y="497010"/>
                  <a:pt x="125868" y="509528"/>
                  <a:pt x="142565" y="509528"/>
                </a:cubicBezTo>
                <a:lnTo>
                  <a:pt x="315098" y="509528"/>
                </a:lnTo>
                <a:cubicBezTo>
                  <a:pt x="317262" y="515652"/>
                  <a:pt x="320601" y="521220"/>
                  <a:pt x="324845" y="525964"/>
                </a:cubicBezTo>
                <a:cubicBezTo>
                  <a:pt x="320601" y="530708"/>
                  <a:pt x="317262" y="536276"/>
                  <a:pt x="315098" y="542400"/>
                </a:cubicBezTo>
                <a:lnTo>
                  <a:pt x="142565" y="542400"/>
                </a:lnTo>
                <a:cubicBezTo>
                  <a:pt x="109170" y="542400"/>
                  <a:pt x="81081" y="517364"/>
                  <a:pt x="77253" y="484189"/>
                </a:cubicBezTo>
                <a:lnTo>
                  <a:pt x="34615" y="115055"/>
                </a:lnTo>
                <a:lnTo>
                  <a:pt x="16436" y="115055"/>
                </a:lnTo>
                <a:cubicBezTo>
                  <a:pt x="8367" y="115055"/>
                  <a:pt x="1656" y="109240"/>
                  <a:pt x="265" y="101573"/>
                </a:cubicBezTo>
                <a:lnTo>
                  <a:pt x="0" y="98618"/>
                </a:lnTo>
                <a:cubicBezTo>
                  <a:pt x="0" y="89541"/>
                  <a:pt x="7359" y="82182"/>
                  <a:pt x="16436" y="82182"/>
                </a:cubicBezTo>
                <a:lnTo>
                  <a:pt x="164364" y="82182"/>
                </a:lnTo>
                <a:close/>
                <a:moveTo>
                  <a:pt x="295855" y="82182"/>
                </a:moveTo>
                <a:cubicBezTo>
                  <a:pt x="295855" y="54949"/>
                  <a:pt x="273777" y="32873"/>
                  <a:pt x="246546" y="32873"/>
                </a:cubicBezTo>
                <a:cubicBezTo>
                  <a:pt x="219313" y="32873"/>
                  <a:pt x="197237" y="54949"/>
                  <a:pt x="197237" y="82182"/>
                </a:cubicBezTo>
                <a:lnTo>
                  <a:pt x="295855" y="82182"/>
                </a:lnTo>
                <a:close/>
                <a:moveTo>
                  <a:pt x="361600" y="476655"/>
                </a:moveTo>
                <a:cubicBezTo>
                  <a:pt x="352524" y="476655"/>
                  <a:pt x="345164" y="484015"/>
                  <a:pt x="345164" y="493091"/>
                </a:cubicBezTo>
                <a:cubicBezTo>
                  <a:pt x="345164" y="500583"/>
                  <a:pt x="350174" y="506901"/>
                  <a:pt x="357028" y="508883"/>
                </a:cubicBezTo>
                <a:cubicBezTo>
                  <a:pt x="358477" y="509304"/>
                  <a:pt x="360013" y="509528"/>
                  <a:pt x="361600" y="509528"/>
                </a:cubicBezTo>
                <a:lnTo>
                  <a:pt x="525964" y="509528"/>
                </a:lnTo>
                <a:cubicBezTo>
                  <a:pt x="535040" y="509528"/>
                  <a:pt x="542400" y="502167"/>
                  <a:pt x="542400" y="493091"/>
                </a:cubicBezTo>
                <a:cubicBezTo>
                  <a:pt x="542400" y="484015"/>
                  <a:pt x="535040" y="476655"/>
                  <a:pt x="525964" y="476655"/>
                </a:cubicBezTo>
                <a:lnTo>
                  <a:pt x="361600" y="476655"/>
                </a:lnTo>
                <a:close/>
                <a:moveTo>
                  <a:pt x="361600" y="410909"/>
                </a:moveTo>
                <a:cubicBezTo>
                  <a:pt x="352524" y="410909"/>
                  <a:pt x="345164" y="418270"/>
                  <a:pt x="345164" y="427346"/>
                </a:cubicBezTo>
                <a:cubicBezTo>
                  <a:pt x="345164" y="436422"/>
                  <a:pt x="352524" y="443782"/>
                  <a:pt x="361600" y="443782"/>
                </a:cubicBezTo>
                <a:lnTo>
                  <a:pt x="525964" y="443782"/>
                </a:lnTo>
                <a:cubicBezTo>
                  <a:pt x="535040" y="443782"/>
                  <a:pt x="542400" y="436422"/>
                  <a:pt x="542400" y="427346"/>
                </a:cubicBezTo>
                <a:cubicBezTo>
                  <a:pt x="542400" y="418270"/>
                  <a:pt x="535040" y="410909"/>
                  <a:pt x="525964" y="410909"/>
                </a:cubicBezTo>
                <a:lnTo>
                  <a:pt x="361600" y="410909"/>
                </a:lnTo>
                <a:close/>
                <a:moveTo>
                  <a:pt x="345164" y="558837"/>
                </a:moveTo>
                <a:cubicBezTo>
                  <a:pt x="345164" y="549761"/>
                  <a:pt x="352524" y="542400"/>
                  <a:pt x="361600" y="542400"/>
                </a:cubicBezTo>
                <a:lnTo>
                  <a:pt x="525964" y="542400"/>
                </a:lnTo>
                <a:cubicBezTo>
                  <a:pt x="535040" y="542400"/>
                  <a:pt x="542400" y="549761"/>
                  <a:pt x="542400" y="558837"/>
                </a:cubicBezTo>
                <a:cubicBezTo>
                  <a:pt x="542400" y="567913"/>
                  <a:pt x="535040" y="575273"/>
                  <a:pt x="525964" y="575273"/>
                </a:cubicBezTo>
                <a:lnTo>
                  <a:pt x="361600" y="575273"/>
                </a:lnTo>
                <a:cubicBezTo>
                  <a:pt x="352524" y="575273"/>
                  <a:pt x="345164" y="567913"/>
                  <a:pt x="345164" y="558837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3286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19" name="Graphic 41" descr="Flow&#10;Keyword: fluent-icon;&#10;Metaphor: process, automation;&#10;&#10;Used to represent automated scenarios.">
            <a:extLst>
              <a:ext uri="{FF2B5EF4-FFF2-40B4-BE49-F238E27FC236}">
                <a16:creationId xmlns:a16="http://schemas.microsoft.com/office/drawing/2014/main" id="{C8A393FE-8194-5B1F-29F4-2D1F5A4DA32B}"/>
              </a:ext>
            </a:extLst>
          </p:cNvPr>
          <p:cNvSpPr/>
          <p:nvPr/>
        </p:nvSpPr>
        <p:spPr>
          <a:xfrm>
            <a:off x="10969211" y="5737636"/>
            <a:ext cx="525964" cy="394473"/>
          </a:xfrm>
          <a:custGeom>
            <a:avLst/>
            <a:gdLst>
              <a:gd name="connsiteX0" fmla="*/ 427346 w 525964"/>
              <a:gd name="connsiteY0" fmla="*/ 32873 h 394473"/>
              <a:gd name="connsiteX1" fmla="*/ 361600 w 525964"/>
              <a:gd name="connsiteY1" fmla="*/ 98618 h 394473"/>
              <a:gd name="connsiteX2" fmla="*/ 427346 w 525964"/>
              <a:gd name="connsiteY2" fmla="*/ 164364 h 394473"/>
              <a:gd name="connsiteX3" fmla="*/ 493091 w 525964"/>
              <a:gd name="connsiteY3" fmla="*/ 98618 h 394473"/>
              <a:gd name="connsiteX4" fmla="*/ 427346 w 525964"/>
              <a:gd name="connsiteY4" fmla="*/ 32873 h 394473"/>
              <a:gd name="connsiteX5" fmla="*/ 330065 w 525964"/>
              <a:gd name="connsiteY5" fmla="*/ 82335 h 394473"/>
              <a:gd name="connsiteX6" fmla="*/ 427346 w 525964"/>
              <a:gd name="connsiteY6" fmla="*/ 0 h 394473"/>
              <a:gd name="connsiteX7" fmla="*/ 525964 w 525964"/>
              <a:gd name="connsiteY7" fmla="*/ 98618 h 394473"/>
              <a:gd name="connsiteX8" fmla="*/ 427346 w 525964"/>
              <a:gd name="connsiteY8" fmla="*/ 197237 h 394473"/>
              <a:gd name="connsiteX9" fmla="*/ 330134 w 525964"/>
              <a:gd name="connsiteY9" fmla="*/ 115304 h 394473"/>
              <a:gd name="connsiteX10" fmla="*/ 286476 w 525964"/>
              <a:gd name="connsiteY10" fmla="*/ 156257 h 394473"/>
              <a:gd name="connsiteX11" fmla="*/ 271914 w 525964"/>
              <a:gd name="connsiteY11" fmla="*/ 243620 h 394473"/>
              <a:gd name="connsiteX12" fmla="*/ 195899 w 525964"/>
              <a:gd name="connsiteY12" fmla="*/ 312137 h 394473"/>
              <a:gd name="connsiteX13" fmla="*/ 98618 w 525964"/>
              <a:gd name="connsiteY13" fmla="*/ 394473 h 394473"/>
              <a:gd name="connsiteX14" fmla="*/ 0 w 525964"/>
              <a:gd name="connsiteY14" fmla="*/ 295855 h 394473"/>
              <a:gd name="connsiteX15" fmla="*/ 98618 w 525964"/>
              <a:gd name="connsiteY15" fmla="*/ 197237 h 394473"/>
              <a:gd name="connsiteX16" fmla="*/ 195831 w 525964"/>
              <a:gd name="connsiteY16" fmla="*/ 279169 h 394473"/>
              <a:gd name="connsiteX17" fmla="*/ 239489 w 525964"/>
              <a:gd name="connsiteY17" fmla="*/ 238216 h 394473"/>
              <a:gd name="connsiteX18" fmla="*/ 254049 w 525964"/>
              <a:gd name="connsiteY18" fmla="*/ 150853 h 394473"/>
              <a:gd name="connsiteX19" fmla="*/ 330065 w 525964"/>
              <a:gd name="connsiteY19" fmla="*/ 82335 h 394473"/>
              <a:gd name="connsiteX20" fmla="*/ 98618 w 525964"/>
              <a:gd name="connsiteY20" fmla="*/ 230109 h 394473"/>
              <a:gd name="connsiteX21" fmla="*/ 32873 w 525964"/>
              <a:gd name="connsiteY21" fmla="*/ 295855 h 394473"/>
              <a:gd name="connsiteX22" fmla="*/ 98618 w 525964"/>
              <a:gd name="connsiteY22" fmla="*/ 361600 h 394473"/>
              <a:gd name="connsiteX23" fmla="*/ 164364 w 525964"/>
              <a:gd name="connsiteY23" fmla="*/ 295855 h 394473"/>
              <a:gd name="connsiteX24" fmla="*/ 98618 w 525964"/>
              <a:gd name="connsiteY24" fmla="*/ 230109 h 394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525964" h="394473">
                <a:moveTo>
                  <a:pt x="427346" y="32873"/>
                </a:moveTo>
                <a:cubicBezTo>
                  <a:pt x="391035" y="32873"/>
                  <a:pt x="361600" y="62308"/>
                  <a:pt x="361600" y="98618"/>
                </a:cubicBezTo>
                <a:cubicBezTo>
                  <a:pt x="361600" y="134929"/>
                  <a:pt x="391035" y="164364"/>
                  <a:pt x="427346" y="164364"/>
                </a:cubicBezTo>
                <a:cubicBezTo>
                  <a:pt x="463657" y="164364"/>
                  <a:pt x="493091" y="134929"/>
                  <a:pt x="493091" y="98618"/>
                </a:cubicBezTo>
                <a:cubicBezTo>
                  <a:pt x="493091" y="62308"/>
                  <a:pt x="463657" y="32873"/>
                  <a:pt x="427346" y="32873"/>
                </a:cubicBezTo>
                <a:close/>
                <a:moveTo>
                  <a:pt x="330065" y="82335"/>
                </a:moveTo>
                <a:cubicBezTo>
                  <a:pt x="337827" y="35618"/>
                  <a:pt x="378428" y="0"/>
                  <a:pt x="427346" y="0"/>
                </a:cubicBezTo>
                <a:cubicBezTo>
                  <a:pt x="481813" y="0"/>
                  <a:pt x="525964" y="44153"/>
                  <a:pt x="525964" y="98618"/>
                </a:cubicBezTo>
                <a:cubicBezTo>
                  <a:pt x="525964" y="153083"/>
                  <a:pt x="481813" y="197237"/>
                  <a:pt x="427346" y="197237"/>
                </a:cubicBezTo>
                <a:cubicBezTo>
                  <a:pt x="378569" y="197237"/>
                  <a:pt x="338060" y="161823"/>
                  <a:pt x="330134" y="115304"/>
                </a:cubicBezTo>
                <a:cubicBezTo>
                  <a:pt x="308225" y="117513"/>
                  <a:pt x="290161" y="134137"/>
                  <a:pt x="286476" y="156257"/>
                </a:cubicBezTo>
                <a:lnTo>
                  <a:pt x="271914" y="243620"/>
                </a:lnTo>
                <a:cubicBezTo>
                  <a:pt x="265589" y="281575"/>
                  <a:pt x="233866" y="309822"/>
                  <a:pt x="195899" y="312137"/>
                </a:cubicBezTo>
                <a:cubicBezTo>
                  <a:pt x="188137" y="358855"/>
                  <a:pt x="147537" y="394473"/>
                  <a:pt x="98618" y="394473"/>
                </a:cubicBezTo>
                <a:cubicBezTo>
                  <a:pt x="44153" y="394473"/>
                  <a:pt x="0" y="350322"/>
                  <a:pt x="0" y="295855"/>
                </a:cubicBezTo>
                <a:cubicBezTo>
                  <a:pt x="0" y="241388"/>
                  <a:pt x="44153" y="197237"/>
                  <a:pt x="98618" y="197237"/>
                </a:cubicBezTo>
                <a:cubicBezTo>
                  <a:pt x="147396" y="197237"/>
                  <a:pt x="187903" y="232650"/>
                  <a:pt x="195831" y="279169"/>
                </a:cubicBezTo>
                <a:cubicBezTo>
                  <a:pt x="217740" y="276960"/>
                  <a:pt x="235802" y="260336"/>
                  <a:pt x="239489" y="238216"/>
                </a:cubicBezTo>
                <a:lnTo>
                  <a:pt x="254049" y="150853"/>
                </a:lnTo>
                <a:cubicBezTo>
                  <a:pt x="260376" y="112897"/>
                  <a:pt x="292097" y="84650"/>
                  <a:pt x="330065" y="82335"/>
                </a:cubicBezTo>
                <a:close/>
                <a:moveTo>
                  <a:pt x="98618" y="230109"/>
                </a:moveTo>
                <a:cubicBezTo>
                  <a:pt x="62308" y="230109"/>
                  <a:pt x="32873" y="259544"/>
                  <a:pt x="32873" y="295855"/>
                </a:cubicBezTo>
                <a:cubicBezTo>
                  <a:pt x="32873" y="332166"/>
                  <a:pt x="62308" y="361600"/>
                  <a:pt x="98618" y="361600"/>
                </a:cubicBezTo>
                <a:cubicBezTo>
                  <a:pt x="134929" y="361600"/>
                  <a:pt x="164364" y="332166"/>
                  <a:pt x="164364" y="295855"/>
                </a:cubicBezTo>
                <a:cubicBezTo>
                  <a:pt x="164364" y="259544"/>
                  <a:pt x="134929" y="230109"/>
                  <a:pt x="98618" y="230109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3286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0" name="Graphic 59" descr="Fingerprint&#10;Keyword: fluent-icon;&#10;Metaphor: scan, security, hand;">
            <a:extLst>
              <a:ext uri="{FF2B5EF4-FFF2-40B4-BE49-F238E27FC236}">
                <a16:creationId xmlns:a16="http://schemas.microsoft.com/office/drawing/2014/main" id="{B8BB759B-AA5F-4DFD-0F3C-4C225BCFCB7A}"/>
              </a:ext>
            </a:extLst>
          </p:cNvPr>
          <p:cNvSpPr/>
          <p:nvPr/>
        </p:nvSpPr>
        <p:spPr>
          <a:xfrm>
            <a:off x="3510928" y="5677278"/>
            <a:ext cx="499944" cy="517840"/>
          </a:xfrm>
          <a:custGeom>
            <a:avLst/>
            <a:gdLst>
              <a:gd name="connsiteX0" fmla="*/ 128761 w 499944"/>
              <a:gd name="connsiteY0" fmla="*/ 63335 h 517840"/>
              <a:gd name="connsiteX1" fmla="*/ 256929 w 499944"/>
              <a:gd name="connsiteY1" fmla="*/ 34405 h 517840"/>
              <a:gd name="connsiteX2" fmla="*/ 390587 w 499944"/>
              <a:gd name="connsiteY2" fmla="*/ 76271 h 517840"/>
              <a:gd name="connsiteX3" fmla="*/ 414499 w 499944"/>
              <a:gd name="connsiteY3" fmla="*/ 72464 h 517840"/>
              <a:gd name="connsiteX4" fmla="*/ 410693 w 499944"/>
              <a:gd name="connsiteY4" fmla="*/ 48552 h 517840"/>
              <a:gd name="connsiteX5" fmla="*/ 258073 w 499944"/>
              <a:gd name="connsiteY5" fmla="*/ 182 h 517840"/>
              <a:gd name="connsiteX6" fmla="*/ 110941 w 499944"/>
              <a:gd name="connsiteY6" fmla="*/ 34095 h 517840"/>
              <a:gd name="connsiteX7" fmla="*/ 105231 w 499944"/>
              <a:gd name="connsiteY7" fmla="*/ 57625 h 517840"/>
              <a:gd name="connsiteX8" fmla="*/ 128761 w 499944"/>
              <a:gd name="connsiteY8" fmla="*/ 63335 h 517840"/>
              <a:gd name="connsiteX9" fmla="*/ 272534 w 499944"/>
              <a:gd name="connsiteY9" fmla="*/ 79606 h 517840"/>
              <a:gd name="connsiteX10" fmla="*/ 253515 w 499944"/>
              <a:gd name="connsiteY10" fmla="*/ 94591 h 517840"/>
              <a:gd name="connsiteX11" fmla="*/ 268499 w 499944"/>
              <a:gd name="connsiteY11" fmla="*/ 113610 h 517840"/>
              <a:gd name="connsiteX12" fmla="*/ 465956 w 499944"/>
              <a:gd name="connsiteY12" fmla="*/ 325615 h 517840"/>
              <a:gd name="connsiteX13" fmla="*/ 485780 w 499944"/>
              <a:gd name="connsiteY13" fmla="*/ 339519 h 517840"/>
              <a:gd name="connsiteX14" fmla="*/ 499684 w 499944"/>
              <a:gd name="connsiteY14" fmla="*/ 319696 h 517840"/>
              <a:gd name="connsiteX15" fmla="*/ 272534 w 499944"/>
              <a:gd name="connsiteY15" fmla="*/ 79606 h 517840"/>
              <a:gd name="connsiteX16" fmla="*/ 180734 w 499944"/>
              <a:gd name="connsiteY16" fmla="*/ 217663 h 517840"/>
              <a:gd name="connsiteX17" fmla="*/ 155735 w 499944"/>
              <a:gd name="connsiteY17" fmla="*/ 465727 h 517840"/>
              <a:gd name="connsiteX18" fmla="*/ 147985 w 499944"/>
              <a:gd name="connsiteY18" fmla="*/ 488666 h 517840"/>
              <a:gd name="connsiteX19" fmla="*/ 125045 w 499944"/>
              <a:gd name="connsiteY19" fmla="*/ 480917 h 517840"/>
              <a:gd name="connsiteX20" fmla="*/ 159338 w 499944"/>
              <a:gd name="connsiteY20" fmla="*/ 190928 h 517840"/>
              <a:gd name="connsiteX21" fmla="*/ 277562 w 499944"/>
              <a:gd name="connsiteY21" fmla="*/ 158377 h 517840"/>
              <a:gd name="connsiteX22" fmla="*/ 394150 w 499944"/>
              <a:gd name="connsiteY22" fmla="*/ 237558 h 517840"/>
              <a:gd name="connsiteX23" fmla="*/ 389850 w 499944"/>
              <a:gd name="connsiteY23" fmla="*/ 261386 h 517840"/>
              <a:gd name="connsiteX24" fmla="*/ 366022 w 499944"/>
              <a:gd name="connsiteY24" fmla="*/ 257086 h 517840"/>
              <a:gd name="connsiteX25" fmla="*/ 272248 w 499944"/>
              <a:gd name="connsiteY25" fmla="*/ 192205 h 517840"/>
              <a:gd name="connsiteX26" fmla="*/ 180734 w 499944"/>
              <a:gd name="connsiteY26" fmla="*/ 217663 h 517840"/>
              <a:gd name="connsiteX27" fmla="*/ 244813 w 499944"/>
              <a:gd name="connsiteY27" fmla="*/ 493121 h 517840"/>
              <a:gd name="connsiteX28" fmla="*/ 205426 w 499944"/>
              <a:gd name="connsiteY28" fmla="*/ 322825 h 517840"/>
              <a:gd name="connsiteX29" fmla="*/ 224651 w 499944"/>
              <a:gd name="connsiteY29" fmla="*/ 281715 h 517840"/>
              <a:gd name="connsiteX30" fmla="*/ 262052 w 499944"/>
              <a:gd name="connsiteY30" fmla="*/ 271214 h 517840"/>
              <a:gd name="connsiteX31" fmla="*/ 301114 w 499944"/>
              <a:gd name="connsiteY31" fmla="*/ 289359 h 517840"/>
              <a:gd name="connsiteX32" fmla="*/ 316918 w 499944"/>
              <a:gd name="connsiteY32" fmla="*/ 333782 h 517840"/>
              <a:gd name="connsiteX33" fmla="*/ 318258 w 499944"/>
              <a:gd name="connsiteY33" fmla="*/ 339901 h 517840"/>
              <a:gd name="connsiteX34" fmla="*/ 390667 w 499944"/>
              <a:gd name="connsiteY34" fmla="*/ 466664 h 517840"/>
              <a:gd name="connsiteX35" fmla="*/ 414568 w 499944"/>
              <a:gd name="connsiteY35" fmla="*/ 462789 h 517840"/>
              <a:gd name="connsiteX36" fmla="*/ 410693 w 499944"/>
              <a:gd name="connsiteY36" fmla="*/ 438887 h 517840"/>
              <a:gd name="connsiteX37" fmla="*/ 351436 w 499944"/>
              <a:gd name="connsiteY37" fmla="*/ 331306 h 517840"/>
              <a:gd name="connsiteX38" fmla="*/ 350351 w 499944"/>
              <a:gd name="connsiteY38" fmla="*/ 326383 h 517840"/>
              <a:gd name="connsiteX39" fmla="*/ 328686 w 499944"/>
              <a:gd name="connsiteY39" fmla="*/ 269054 h 517840"/>
              <a:gd name="connsiteX40" fmla="*/ 265283 w 499944"/>
              <a:gd name="connsiteY40" fmla="*/ 237125 h 517840"/>
              <a:gd name="connsiteX41" fmla="*/ 201765 w 499944"/>
              <a:gd name="connsiteY41" fmla="*/ 256244 h 517840"/>
              <a:gd name="connsiteX42" fmla="*/ 171616 w 499944"/>
              <a:gd name="connsiteY42" fmla="*/ 317395 h 517840"/>
              <a:gd name="connsiteX43" fmla="*/ 214123 w 499944"/>
              <a:gd name="connsiteY43" fmla="*/ 508311 h 517840"/>
              <a:gd name="connsiteX44" fmla="*/ 237063 w 499944"/>
              <a:gd name="connsiteY44" fmla="*/ 516060 h 517840"/>
              <a:gd name="connsiteX45" fmla="*/ 244813 w 499944"/>
              <a:gd name="connsiteY45" fmla="*/ 493121 h 517840"/>
              <a:gd name="connsiteX46" fmla="*/ 84750 w 499944"/>
              <a:gd name="connsiteY46" fmla="*/ 78480 h 517840"/>
              <a:gd name="connsiteX47" fmla="*/ 83238 w 499944"/>
              <a:gd name="connsiteY47" fmla="*/ 102646 h 517840"/>
              <a:gd name="connsiteX48" fmla="*/ 31962 w 499944"/>
              <a:gd name="connsiteY48" fmla="*/ 166833 h 517840"/>
              <a:gd name="connsiteX49" fmla="*/ 8582 w 499944"/>
              <a:gd name="connsiteY49" fmla="*/ 173129 h 517840"/>
              <a:gd name="connsiteX50" fmla="*/ 2286 w 499944"/>
              <a:gd name="connsiteY50" fmla="*/ 149750 h 517840"/>
              <a:gd name="connsiteX51" fmla="*/ 60584 w 499944"/>
              <a:gd name="connsiteY51" fmla="*/ 76968 h 517840"/>
              <a:gd name="connsiteX52" fmla="*/ 84750 w 499944"/>
              <a:gd name="connsiteY52" fmla="*/ 78480 h 517840"/>
              <a:gd name="connsiteX53" fmla="*/ 420981 w 499944"/>
              <a:gd name="connsiteY53" fmla="*/ 320024 h 517840"/>
              <a:gd name="connsiteX54" fmla="*/ 401432 w 499944"/>
              <a:gd name="connsiteY54" fmla="*/ 305736 h 517840"/>
              <a:gd name="connsiteX55" fmla="*/ 387145 w 499944"/>
              <a:gd name="connsiteY55" fmla="*/ 325286 h 517840"/>
              <a:gd name="connsiteX56" fmla="*/ 445427 w 499944"/>
              <a:gd name="connsiteY56" fmla="*/ 418734 h 517840"/>
              <a:gd name="connsiteX57" fmla="*/ 469324 w 499944"/>
              <a:gd name="connsiteY57" fmla="*/ 414836 h 517840"/>
              <a:gd name="connsiteX58" fmla="*/ 465426 w 499944"/>
              <a:gd name="connsiteY58" fmla="*/ 390938 h 517840"/>
              <a:gd name="connsiteX59" fmla="*/ 420981 w 499944"/>
              <a:gd name="connsiteY59" fmla="*/ 320024 h 517840"/>
              <a:gd name="connsiteX60" fmla="*/ 255539 w 499944"/>
              <a:gd name="connsiteY60" fmla="*/ 319279 h 517840"/>
              <a:gd name="connsiteX61" fmla="*/ 273893 w 499944"/>
              <a:gd name="connsiteY61" fmla="*/ 335073 h 517840"/>
              <a:gd name="connsiteX62" fmla="*/ 331346 w 499944"/>
              <a:gd name="connsiteY62" fmla="*/ 475751 h 517840"/>
              <a:gd name="connsiteX63" fmla="*/ 329722 w 499944"/>
              <a:gd name="connsiteY63" fmla="*/ 499910 h 517840"/>
              <a:gd name="connsiteX64" fmla="*/ 305563 w 499944"/>
              <a:gd name="connsiteY64" fmla="*/ 498284 h 517840"/>
              <a:gd name="connsiteX65" fmla="*/ 239746 w 499944"/>
              <a:gd name="connsiteY65" fmla="*/ 337631 h 517840"/>
              <a:gd name="connsiteX66" fmla="*/ 255539 w 499944"/>
              <a:gd name="connsiteY66" fmla="*/ 319279 h 517840"/>
              <a:gd name="connsiteX67" fmla="*/ 201821 w 499944"/>
              <a:gd name="connsiteY67" fmla="*/ 119285 h 517840"/>
              <a:gd name="connsiteX68" fmla="*/ 210962 w 499944"/>
              <a:gd name="connsiteY68" fmla="*/ 96864 h 517840"/>
              <a:gd name="connsiteX69" fmla="*/ 188542 w 499944"/>
              <a:gd name="connsiteY69" fmla="*/ 87722 h 517840"/>
              <a:gd name="connsiteX70" fmla="*/ 20665 w 499944"/>
              <a:gd name="connsiteY70" fmla="*/ 393144 h 517840"/>
              <a:gd name="connsiteX71" fmla="*/ 39672 w 499944"/>
              <a:gd name="connsiteY71" fmla="*/ 408143 h 517840"/>
              <a:gd name="connsiteX72" fmla="*/ 54672 w 499944"/>
              <a:gd name="connsiteY72" fmla="*/ 389136 h 517840"/>
              <a:gd name="connsiteX73" fmla="*/ 201821 w 499944"/>
              <a:gd name="connsiteY73" fmla="*/ 119285 h 517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</a:cxnLst>
            <a:rect l="l" t="t" r="r" b="b"/>
            <a:pathLst>
              <a:path w="499944" h="517840">
                <a:moveTo>
                  <a:pt x="128761" y="63335"/>
                </a:moveTo>
                <a:cubicBezTo>
                  <a:pt x="161487" y="43391"/>
                  <a:pt x="208230" y="32777"/>
                  <a:pt x="256929" y="34405"/>
                </a:cubicBezTo>
                <a:cubicBezTo>
                  <a:pt x="305540" y="36030"/>
                  <a:pt x="354076" y="49789"/>
                  <a:pt x="390587" y="76271"/>
                </a:cubicBezTo>
                <a:cubicBezTo>
                  <a:pt x="398242" y="81824"/>
                  <a:pt x="408948" y="80118"/>
                  <a:pt x="414499" y="72464"/>
                </a:cubicBezTo>
                <a:cubicBezTo>
                  <a:pt x="420052" y="64810"/>
                  <a:pt x="418347" y="54104"/>
                  <a:pt x="410693" y="48552"/>
                </a:cubicBezTo>
                <a:cubicBezTo>
                  <a:pt x="367404" y="17153"/>
                  <a:pt x="311787" y="1978"/>
                  <a:pt x="258073" y="182"/>
                </a:cubicBezTo>
                <a:cubicBezTo>
                  <a:pt x="204449" y="-1611"/>
                  <a:pt x="150697" y="9867"/>
                  <a:pt x="110941" y="34095"/>
                </a:cubicBezTo>
                <a:cubicBezTo>
                  <a:pt x="102867" y="39015"/>
                  <a:pt x="100310" y="49550"/>
                  <a:pt x="105231" y="57625"/>
                </a:cubicBezTo>
                <a:cubicBezTo>
                  <a:pt x="110151" y="65699"/>
                  <a:pt x="120687" y="68255"/>
                  <a:pt x="128761" y="63335"/>
                </a:cubicBezTo>
                <a:close/>
                <a:moveTo>
                  <a:pt x="272534" y="79606"/>
                </a:moveTo>
                <a:cubicBezTo>
                  <a:pt x="263145" y="78491"/>
                  <a:pt x="254630" y="85200"/>
                  <a:pt x="253515" y="94591"/>
                </a:cubicBezTo>
                <a:cubicBezTo>
                  <a:pt x="252401" y="103980"/>
                  <a:pt x="259110" y="112495"/>
                  <a:pt x="268499" y="113610"/>
                </a:cubicBezTo>
                <a:cubicBezTo>
                  <a:pt x="375736" y="126337"/>
                  <a:pt x="445520" y="209156"/>
                  <a:pt x="465956" y="325615"/>
                </a:cubicBezTo>
                <a:cubicBezTo>
                  <a:pt x="467592" y="334927"/>
                  <a:pt x="476466" y="341153"/>
                  <a:pt x="485780" y="339519"/>
                </a:cubicBezTo>
                <a:cubicBezTo>
                  <a:pt x="495092" y="337885"/>
                  <a:pt x="501318" y="329009"/>
                  <a:pt x="499684" y="319696"/>
                </a:cubicBezTo>
                <a:cubicBezTo>
                  <a:pt x="477440" y="192932"/>
                  <a:pt x="398944" y="94608"/>
                  <a:pt x="272534" y="79606"/>
                </a:cubicBezTo>
                <a:close/>
                <a:moveTo>
                  <a:pt x="180734" y="217663"/>
                </a:moveTo>
                <a:cubicBezTo>
                  <a:pt x="128449" y="259505"/>
                  <a:pt x="98520" y="350130"/>
                  <a:pt x="155735" y="465727"/>
                </a:cubicBezTo>
                <a:cubicBezTo>
                  <a:pt x="159929" y="474202"/>
                  <a:pt x="156459" y="484472"/>
                  <a:pt x="147985" y="488666"/>
                </a:cubicBezTo>
                <a:cubicBezTo>
                  <a:pt x="139509" y="492860"/>
                  <a:pt x="129239" y="489391"/>
                  <a:pt x="125045" y="480917"/>
                </a:cubicBezTo>
                <a:cubicBezTo>
                  <a:pt x="62265" y="354074"/>
                  <a:pt x="91914" y="244885"/>
                  <a:pt x="159338" y="190928"/>
                </a:cubicBezTo>
                <a:cubicBezTo>
                  <a:pt x="192742" y="164197"/>
                  <a:pt x="234970" y="151685"/>
                  <a:pt x="277562" y="158377"/>
                </a:cubicBezTo>
                <a:cubicBezTo>
                  <a:pt x="320301" y="165093"/>
                  <a:pt x="361730" y="190860"/>
                  <a:pt x="394150" y="237558"/>
                </a:cubicBezTo>
                <a:cubicBezTo>
                  <a:pt x="399542" y="245326"/>
                  <a:pt x="397618" y="255993"/>
                  <a:pt x="389850" y="261386"/>
                </a:cubicBezTo>
                <a:cubicBezTo>
                  <a:pt x="382083" y="266778"/>
                  <a:pt x="371414" y="264854"/>
                  <a:pt x="366022" y="257086"/>
                </a:cubicBezTo>
                <a:cubicBezTo>
                  <a:pt x="338170" y="216968"/>
                  <a:pt x="304503" y="197273"/>
                  <a:pt x="272248" y="192205"/>
                </a:cubicBezTo>
                <a:cubicBezTo>
                  <a:pt x="239846" y="187114"/>
                  <a:pt x="207186" y="196495"/>
                  <a:pt x="180734" y="217663"/>
                </a:cubicBezTo>
                <a:close/>
                <a:moveTo>
                  <a:pt x="244813" y="493121"/>
                </a:moveTo>
                <a:cubicBezTo>
                  <a:pt x="209756" y="422289"/>
                  <a:pt x="199065" y="362439"/>
                  <a:pt x="205426" y="322825"/>
                </a:cubicBezTo>
                <a:cubicBezTo>
                  <a:pt x="208580" y="303179"/>
                  <a:pt x="215688" y="289768"/>
                  <a:pt x="224651" y="281715"/>
                </a:cubicBezTo>
                <a:cubicBezTo>
                  <a:pt x="233290" y="273953"/>
                  <a:pt x="245339" y="269631"/>
                  <a:pt x="262052" y="271214"/>
                </a:cubicBezTo>
                <a:cubicBezTo>
                  <a:pt x="284288" y="273324"/>
                  <a:pt x="294688" y="280633"/>
                  <a:pt x="301114" y="289359"/>
                </a:cubicBezTo>
                <a:cubicBezTo>
                  <a:pt x="308540" y="299441"/>
                  <a:pt x="312453" y="313605"/>
                  <a:pt x="316918" y="333782"/>
                </a:cubicBezTo>
                <a:cubicBezTo>
                  <a:pt x="317360" y="335783"/>
                  <a:pt x="317806" y="337824"/>
                  <a:pt x="318258" y="339901"/>
                </a:cubicBezTo>
                <a:cubicBezTo>
                  <a:pt x="326557" y="378028"/>
                  <a:pt x="337506" y="428335"/>
                  <a:pt x="390667" y="466664"/>
                </a:cubicBezTo>
                <a:cubicBezTo>
                  <a:pt x="398337" y="472194"/>
                  <a:pt x="409037" y="470459"/>
                  <a:pt x="414568" y="462789"/>
                </a:cubicBezTo>
                <a:cubicBezTo>
                  <a:pt x="420097" y="455118"/>
                  <a:pt x="418363" y="444418"/>
                  <a:pt x="410693" y="438887"/>
                </a:cubicBezTo>
                <a:cubicBezTo>
                  <a:pt x="368357" y="408364"/>
                  <a:pt x="359876" y="369742"/>
                  <a:pt x="351436" y="331306"/>
                </a:cubicBezTo>
                <a:cubicBezTo>
                  <a:pt x="351074" y="329664"/>
                  <a:pt x="350714" y="328023"/>
                  <a:pt x="350351" y="326383"/>
                </a:cubicBezTo>
                <a:cubicBezTo>
                  <a:pt x="346101" y="307172"/>
                  <a:pt x="341055" y="285848"/>
                  <a:pt x="328686" y="269054"/>
                </a:cubicBezTo>
                <a:cubicBezTo>
                  <a:pt x="315321" y="250905"/>
                  <a:pt x="295095" y="239952"/>
                  <a:pt x="265283" y="237125"/>
                </a:cubicBezTo>
                <a:cubicBezTo>
                  <a:pt x="240487" y="234775"/>
                  <a:pt x="218535" y="241176"/>
                  <a:pt x="201765" y="256244"/>
                </a:cubicBezTo>
                <a:cubicBezTo>
                  <a:pt x="185317" y="271021"/>
                  <a:pt x="175606" y="292548"/>
                  <a:pt x="171616" y="317395"/>
                </a:cubicBezTo>
                <a:cubicBezTo>
                  <a:pt x="163688" y="366767"/>
                  <a:pt x="177406" y="434126"/>
                  <a:pt x="214123" y="508311"/>
                </a:cubicBezTo>
                <a:cubicBezTo>
                  <a:pt x="218318" y="516785"/>
                  <a:pt x="228589" y="520254"/>
                  <a:pt x="237063" y="516060"/>
                </a:cubicBezTo>
                <a:cubicBezTo>
                  <a:pt x="245537" y="511865"/>
                  <a:pt x="249007" y="501595"/>
                  <a:pt x="244813" y="493121"/>
                </a:cubicBezTo>
                <a:close/>
                <a:moveTo>
                  <a:pt x="84750" y="78480"/>
                </a:moveTo>
                <a:cubicBezTo>
                  <a:pt x="91005" y="85570"/>
                  <a:pt x="90329" y="96390"/>
                  <a:pt x="83238" y="102646"/>
                </a:cubicBezTo>
                <a:cubicBezTo>
                  <a:pt x="61373" y="121935"/>
                  <a:pt x="46625" y="141362"/>
                  <a:pt x="31962" y="166833"/>
                </a:cubicBezTo>
                <a:cubicBezTo>
                  <a:pt x="27245" y="175027"/>
                  <a:pt x="16777" y="177848"/>
                  <a:pt x="8582" y="173129"/>
                </a:cubicBezTo>
                <a:cubicBezTo>
                  <a:pt x="387" y="168412"/>
                  <a:pt x="-2432" y="157945"/>
                  <a:pt x="2286" y="149750"/>
                </a:cubicBezTo>
                <a:cubicBezTo>
                  <a:pt x="18400" y="121756"/>
                  <a:pt x="35375" y="99208"/>
                  <a:pt x="60584" y="76968"/>
                </a:cubicBezTo>
                <a:cubicBezTo>
                  <a:pt x="67674" y="70711"/>
                  <a:pt x="78495" y="71389"/>
                  <a:pt x="84750" y="78480"/>
                </a:cubicBezTo>
                <a:close/>
                <a:moveTo>
                  <a:pt x="420981" y="320024"/>
                </a:moveTo>
                <a:cubicBezTo>
                  <a:pt x="419528" y="310680"/>
                  <a:pt x="410775" y="304284"/>
                  <a:pt x="401432" y="305736"/>
                </a:cubicBezTo>
                <a:cubicBezTo>
                  <a:pt x="392088" y="307190"/>
                  <a:pt x="385692" y="315942"/>
                  <a:pt x="387145" y="325286"/>
                </a:cubicBezTo>
                <a:cubicBezTo>
                  <a:pt x="394125" y="370167"/>
                  <a:pt x="417346" y="398529"/>
                  <a:pt x="445427" y="418734"/>
                </a:cubicBezTo>
                <a:cubicBezTo>
                  <a:pt x="453103" y="424256"/>
                  <a:pt x="463802" y="422511"/>
                  <a:pt x="469324" y="414836"/>
                </a:cubicBezTo>
                <a:cubicBezTo>
                  <a:pt x="474847" y="407161"/>
                  <a:pt x="473102" y="396461"/>
                  <a:pt x="465426" y="390938"/>
                </a:cubicBezTo>
                <a:cubicBezTo>
                  <a:pt x="443160" y="374918"/>
                  <a:pt x="426272" y="354039"/>
                  <a:pt x="420981" y="320024"/>
                </a:cubicBezTo>
                <a:close/>
                <a:moveTo>
                  <a:pt x="255539" y="319279"/>
                </a:moveTo>
                <a:cubicBezTo>
                  <a:pt x="264969" y="318572"/>
                  <a:pt x="273186" y="325644"/>
                  <a:pt x="273893" y="335073"/>
                </a:cubicBezTo>
                <a:cubicBezTo>
                  <a:pt x="278076" y="390897"/>
                  <a:pt x="298509" y="438177"/>
                  <a:pt x="331346" y="475751"/>
                </a:cubicBezTo>
                <a:cubicBezTo>
                  <a:pt x="337569" y="482871"/>
                  <a:pt x="336842" y="493688"/>
                  <a:pt x="329722" y="499910"/>
                </a:cubicBezTo>
                <a:cubicBezTo>
                  <a:pt x="322601" y="506133"/>
                  <a:pt x="311786" y="505405"/>
                  <a:pt x="305563" y="498284"/>
                </a:cubicBezTo>
                <a:cubicBezTo>
                  <a:pt x="267735" y="454999"/>
                  <a:pt x="244471" y="400666"/>
                  <a:pt x="239746" y="337631"/>
                </a:cubicBezTo>
                <a:cubicBezTo>
                  <a:pt x="239040" y="328202"/>
                  <a:pt x="246110" y="319985"/>
                  <a:pt x="255539" y="319279"/>
                </a:cubicBezTo>
                <a:close/>
                <a:moveTo>
                  <a:pt x="201821" y="119285"/>
                </a:moveTo>
                <a:cubicBezTo>
                  <a:pt x="210536" y="115618"/>
                  <a:pt x="214629" y="105580"/>
                  <a:pt x="210962" y="96864"/>
                </a:cubicBezTo>
                <a:cubicBezTo>
                  <a:pt x="207296" y="88149"/>
                  <a:pt x="197258" y="84055"/>
                  <a:pt x="188542" y="87722"/>
                </a:cubicBezTo>
                <a:cubicBezTo>
                  <a:pt x="65658" y="139419"/>
                  <a:pt x="4390" y="255033"/>
                  <a:pt x="20665" y="393144"/>
                </a:cubicBezTo>
                <a:cubicBezTo>
                  <a:pt x="21771" y="402534"/>
                  <a:pt x="30281" y="409250"/>
                  <a:pt x="39672" y="408143"/>
                </a:cubicBezTo>
                <a:cubicBezTo>
                  <a:pt x="49063" y="407036"/>
                  <a:pt x="55778" y="398528"/>
                  <a:pt x="54672" y="389136"/>
                </a:cubicBezTo>
                <a:cubicBezTo>
                  <a:pt x="39986" y="264504"/>
                  <a:pt x="94490" y="164438"/>
                  <a:pt x="201821" y="119285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1369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1" name="Graphic 60" descr="Full Screen&#10;Keyword: fluent-icon;&#10;Metaphor: width, height, resize, fill, fit, maximize, minimize;&#10;&#10;Used in specific fullscreen scaling moments. Contains state variants (maximize &amp; minimize.">
            <a:extLst>
              <a:ext uri="{FF2B5EF4-FFF2-40B4-BE49-F238E27FC236}">
                <a16:creationId xmlns:a16="http://schemas.microsoft.com/office/drawing/2014/main" id="{A85C2905-0851-19D6-DD82-A4286C365BAF}"/>
              </a:ext>
            </a:extLst>
          </p:cNvPr>
          <p:cNvSpPr/>
          <p:nvPr/>
        </p:nvSpPr>
        <p:spPr>
          <a:xfrm>
            <a:off x="719469" y="5688326"/>
            <a:ext cx="493091" cy="493091"/>
          </a:xfrm>
          <a:custGeom>
            <a:avLst/>
            <a:gdLst>
              <a:gd name="connsiteX0" fmla="*/ 41091 w 493091"/>
              <a:gd name="connsiteY0" fmla="*/ 75333 h 493091"/>
              <a:gd name="connsiteX1" fmla="*/ 75333 w 493091"/>
              <a:gd name="connsiteY1" fmla="*/ 41091 h 493091"/>
              <a:gd name="connsiteX2" fmla="*/ 130121 w 493091"/>
              <a:gd name="connsiteY2" fmla="*/ 41091 h 493091"/>
              <a:gd name="connsiteX3" fmla="*/ 150667 w 493091"/>
              <a:gd name="connsiteY3" fmla="*/ 20545 h 493091"/>
              <a:gd name="connsiteX4" fmla="*/ 130121 w 493091"/>
              <a:gd name="connsiteY4" fmla="*/ 0 h 493091"/>
              <a:gd name="connsiteX5" fmla="*/ 75333 w 493091"/>
              <a:gd name="connsiteY5" fmla="*/ 0 h 493091"/>
              <a:gd name="connsiteX6" fmla="*/ 0 w 493091"/>
              <a:gd name="connsiteY6" fmla="*/ 75333 h 493091"/>
              <a:gd name="connsiteX7" fmla="*/ 0 w 493091"/>
              <a:gd name="connsiteY7" fmla="*/ 130121 h 493091"/>
              <a:gd name="connsiteX8" fmla="*/ 20545 w 493091"/>
              <a:gd name="connsiteY8" fmla="*/ 150667 h 493091"/>
              <a:gd name="connsiteX9" fmla="*/ 41091 w 493091"/>
              <a:gd name="connsiteY9" fmla="*/ 130121 h 493091"/>
              <a:gd name="connsiteX10" fmla="*/ 41091 w 493091"/>
              <a:gd name="connsiteY10" fmla="*/ 75333 h 493091"/>
              <a:gd name="connsiteX11" fmla="*/ 41091 w 493091"/>
              <a:gd name="connsiteY11" fmla="*/ 417758 h 493091"/>
              <a:gd name="connsiteX12" fmla="*/ 75333 w 493091"/>
              <a:gd name="connsiteY12" fmla="*/ 452000 h 493091"/>
              <a:gd name="connsiteX13" fmla="*/ 130121 w 493091"/>
              <a:gd name="connsiteY13" fmla="*/ 452000 h 493091"/>
              <a:gd name="connsiteX14" fmla="*/ 150667 w 493091"/>
              <a:gd name="connsiteY14" fmla="*/ 472546 h 493091"/>
              <a:gd name="connsiteX15" fmla="*/ 130121 w 493091"/>
              <a:gd name="connsiteY15" fmla="*/ 493091 h 493091"/>
              <a:gd name="connsiteX16" fmla="*/ 75333 w 493091"/>
              <a:gd name="connsiteY16" fmla="*/ 493091 h 493091"/>
              <a:gd name="connsiteX17" fmla="*/ 0 w 493091"/>
              <a:gd name="connsiteY17" fmla="*/ 417758 h 493091"/>
              <a:gd name="connsiteX18" fmla="*/ 0 w 493091"/>
              <a:gd name="connsiteY18" fmla="*/ 362970 h 493091"/>
              <a:gd name="connsiteX19" fmla="*/ 20545 w 493091"/>
              <a:gd name="connsiteY19" fmla="*/ 342424 h 493091"/>
              <a:gd name="connsiteX20" fmla="*/ 41091 w 493091"/>
              <a:gd name="connsiteY20" fmla="*/ 362970 h 493091"/>
              <a:gd name="connsiteX21" fmla="*/ 41091 w 493091"/>
              <a:gd name="connsiteY21" fmla="*/ 417758 h 493091"/>
              <a:gd name="connsiteX22" fmla="*/ 417758 w 493091"/>
              <a:gd name="connsiteY22" fmla="*/ 41091 h 493091"/>
              <a:gd name="connsiteX23" fmla="*/ 452000 w 493091"/>
              <a:gd name="connsiteY23" fmla="*/ 75333 h 493091"/>
              <a:gd name="connsiteX24" fmla="*/ 452000 w 493091"/>
              <a:gd name="connsiteY24" fmla="*/ 130121 h 493091"/>
              <a:gd name="connsiteX25" fmla="*/ 472546 w 493091"/>
              <a:gd name="connsiteY25" fmla="*/ 150667 h 493091"/>
              <a:gd name="connsiteX26" fmla="*/ 493091 w 493091"/>
              <a:gd name="connsiteY26" fmla="*/ 130121 h 493091"/>
              <a:gd name="connsiteX27" fmla="*/ 493091 w 493091"/>
              <a:gd name="connsiteY27" fmla="*/ 75333 h 493091"/>
              <a:gd name="connsiteX28" fmla="*/ 417758 w 493091"/>
              <a:gd name="connsiteY28" fmla="*/ 0 h 493091"/>
              <a:gd name="connsiteX29" fmla="*/ 362970 w 493091"/>
              <a:gd name="connsiteY29" fmla="*/ 0 h 493091"/>
              <a:gd name="connsiteX30" fmla="*/ 342424 w 493091"/>
              <a:gd name="connsiteY30" fmla="*/ 20545 h 493091"/>
              <a:gd name="connsiteX31" fmla="*/ 362970 w 493091"/>
              <a:gd name="connsiteY31" fmla="*/ 41091 h 493091"/>
              <a:gd name="connsiteX32" fmla="*/ 417758 w 493091"/>
              <a:gd name="connsiteY32" fmla="*/ 41091 h 493091"/>
              <a:gd name="connsiteX33" fmla="*/ 452000 w 493091"/>
              <a:gd name="connsiteY33" fmla="*/ 417758 h 493091"/>
              <a:gd name="connsiteX34" fmla="*/ 417758 w 493091"/>
              <a:gd name="connsiteY34" fmla="*/ 452000 h 493091"/>
              <a:gd name="connsiteX35" fmla="*/ 362970 w 493091"/>
              <a:gd name="connsiteY35" fmla="*/ 452000 h 493091"/>
              <a:gd name="connsiteX36" fmla="*/ 342424 w 493091"/>
              <a:gd name="connsiteY36" fmla="*/ 472546 h 493091"/>
              <a:gd name="connsiteX37" fmla="*/ 362970 w 493091"/>
              <a:gd name="connsiteY37" fmla="*/ 493091 h 493091"/>
              <a:gd name="connsiteX38" fmla="*/ 417758 w 493091"/>
              <a:gd name="connsiteY38" fmla="*/ 493091 h 493091"/>
              <a:gd name="connsiteX39" fmla="*/ 493091 w 493091"/>
              <a:gd name="connsiteY39" fmla="*/ 417758 h 493091"/>
              <a:gd name="connsiteX40" fmla="*/ 493091 w 493091"/>
              <a:gd name="connsiteY40" fmla="*/ 362970 h 493091"/>
              <a:gd name="connsiteX41" fmla="*/ 472546 w 493091"/>
              <a:gd name="connsiteY41" fmla="*/ 342424 h 493091"/>
              <a:gd name="connsiteX42" fmla="*/ 452000 w 493091"/>
              <a:gd name="connsiteY42" fmla="*/ 362970 h 493091"/>
              <a:gd name="connsiteX43" fmla="*/ 452000 w 493091"/>
              <a:gd name="connsiteY43" fmla="*/ 417758 h 493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493091" h="493091">
                <a:moveTo>
                  <a:pt x="41091" y="75333"/>
                </a:moveTo>
                <a:cubicBezTo>
                  <a:pt x="41091" y="56422"/>
                  <a:pt x="56422" y="41091"/>
                  <a:pt x="75333" y="41091"/>
                </a:cubicBezTo>
                <a:lnTo>
                  <a:pt x="130121" y="41091"/>
                </a:lnTo>
                <a:cubicBezTo>
                  <a:pt x="141468" y="41091"/>
                  <a:pt x="150667" y="31892"/>
                  <a:pt x="150667" y="20545"/>
                </a:cubicBezTo>
                <a:cubicBezTo>
                  <a:pt x="150667" y="9199"/>
                  <a:pt x="141468" y="0"/>
                  <a:pt x="130121" y="0"/>
                </a:cubicBezTo>
                <a:lnTo>
                  <a:pt x="75333" y="0"/>
                </a:lnTo>
                <a:cubicBezTo>
                  <a:pt x="33728" y="0"/>
                  <a:pt x="0" y="33728"/>
                  <a:pt x="0" y="75333"/>
                </a:cubicBezTo>
                <a:lnTo>
                  <a:pt x="0" y="130121"/>
                </a:lnTo>
                <a:cubicBezTo>
                  <a:pt x="0" y="141468"/>
                  <a:pt x="9199" y="150667"/>
                  <a:pt x="20545" y="150667"/>
                </a:cubicBezTo>
                <a:cubicBezTo>
                  <a:pt x="31892" y="150667"/>
                  <a:pt x="41091" y="141468"/>
                  <a:pt x="41091" y="130121"/>
                </a:cubicBezTo>
                <a:lnTo>
                  <a:pt x="41091" y="75333"/>
                </a:lnTo>
                <a:close/>
                <a:moveTo>
                  <a:pt x="41091" y="417758"/>
                </a:moveTo>
                <a:cubicBezTo>
                  <a:pt x="41091" y="436671"/>
                  <a:pt x="56422" y="452000"/>
                  <a:pt x="75333" y="452000"/>
                </a:cubicBezTo>
                <a:lnTo>
                  <a:pt x="130121" y="452000"/>
                </a:lnTo>
                <a:cubicBezTo>
                  <a:pt x="141468" y="452000"/>
                  <a:pt x="150667" y="461199"/>
                  <a:pt x="150667" y="472546"/>
                </a:cubicBezTo>
                <a:cubicBezTo>
                  <a:pt x="150667" y="483892"/>
                  <a:pt x="141468" y="493091"/>
                  <a:pt x="130121" y="493091"/>
                </a:cubicBezTo>
                <a:lnTo>
                  <a:pt x="75333" y="493091"/>
                </a:lnTo>
                <a:cubicBezTo>
                  <a:pt x="33728" y="493091"/>
                  <a:pt x="0" y="459364"/>
                  <a:pt x="0" y="417758"/>
                </a:cubicBezTo>
                <a:lnTo>
                  <a:pt x="0" y="362970"/>
                </a:lnTo>
                <a:cubicBezTo>
                  <a:pt x="0" y="351623"/>
                  <a:pt x="9199" y="342424"/>
                  <a:pt x="20545" y="342424"/>
                </a:cubicBezTo>
                <a:cubicBezTo>
                  <a:pt x="31892" y="342424"/>
                  <a:pt x="41091" y="351623"/>
                  <a:pt x="41091" y="362970"/>
                </a:cubicBezTo>
                <a:lnTo>
                  <a:pt x="41091" y="417758"/>
                </a:lnTo>
                <a:close/>
                <a:moveTo>
                  <a:pt x="417758" y="41091"/>
                </a:moveTo>
                <a:cubicBezTo>
                  <a:pt x="436671" y="41091"/>
                  <a:pt x="452000" y="56422"/>
                  <a:pt x="452000" y="75333"/>
                </a:cubicBezTo>
                <a:lnTo>
                  <a:pt x="452000" y="130121"/>
                </a:lnTo>
                <a:cubicBezTo>
                  <a:pt x="452000" y="141468"/>
                  <a:pt x="461199" y="150667"/>
                  <a:pt x="472546" y="150667"/>
                </a:cubicBezTo>
                <a:cubicBezTo>
                  <a:pt x="483892" y="150667"/>
                  <a:pt x="493091" y="141468"/>
                  <a:pt x="493091" y="130121"/>
                </a:cubicBezTo>
                <a:lnTo>
                  <a:pt x="493091" y="75333"/>
                </a:lnTo>
                <a:cubicBezTo>
                  <a:pt x="493091" y="33728"/>
                  <a:pt x="459364" y="0"/>
                  <a:pt x="417758" y="0"/>
                </a:cubicBezTo>
                <a:lnTo>
                  <a:pt x="362970" y="0"/>
                </a:lnTo>
                <a:cubicBezTo>
                  <a:pt x="351623" y="0"/>
                  <a:pt x="342424" y="9199"/>
                  <a:pt x="342424" y="20545"/>
                </a:cubicBezTo>
                <a:cubicBezTo>
                  <a:pt x="342424" y="31892"/>
                  <a:pt x="351623" y="41091"/>
                  <a:pt x="362970" y="41091"/>
                </a:cubicBezTo>
                <a:lnTo>
                  <a:pt x="417758" y="41091"/>
                </a:lnTo>
                <a:close/>
                <a:moveTo>
                  <a:pt x="452000" y="417758"/>
                </a:moveTo>
                <a:cubicBezTo>
                  <a:pt x="452000" y="436671"/>
                  <a:pt x="436671" y="452000"/>
                  <a:pt x="417758" y="452000"/>
                </a:cubicBezTo>
                <a:lnTo>
                  <a:pt x="362970" y="452000"/>
                </a:lnTo>
                <a:cubicBezTo>
                  <a:pt x="351623" y="452000"/>
                  <a:pt x="342424" y="461199"/>
                  <a:pt x="342424" y="472546"/>
                </a:cubicBezTo>
                <a:cubicBezTo>
                  <a:pt x="342424" y="483892"/>
                  <a:pt x="351623" y="493091"/>
                  <a:pt x="362970" y="493091"/>
                </a:cubicBezTo>
                <a:lnTo>
                  <a:pt x="417758" y="493091"/>
                </a:lnTo>
                <a:cubicBezTo>
                  <a:pt x="459364" y="493091"/>
                  <a:pt x="493091" y="459364"/>
                  <a:pt x="493091" y="417758"/>
                </a:cubicBezTo>
                <a:lnTo>
                  <a:pt x="493091" y="362970"/>
                </a:lnTo>
                <a:cubicBezTo>
                  <a:pt x="493091" y="351623"/>
                  <a:pt x="483892" y="342424"/>
                  <a:pt x="472546" y="342424"/>
                </a:cubicBezTo>
                <a:cubicBezTo>
                  <a:pt x="461199" y="342424"/>
                  <a:pt x="452000" y="351623"/>
                  <a:pt x="452000" y="362970"/>
                </a:cubicBezTo>
                <a:lnTo>
                  <a:pt x="452000" y="417758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3600000" scaled="0"/>
          </a:gra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0803684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raphic 45" descr="Folder Person&#10;Keyword: fluent-icon;&#10;Metaphor: analog, collection;&#10;&#10;Used to represent collections of files.">
            <a:extLst>
              <a:ext uri="{FF2B5EF4-FFF2-40B4-BE49-F238E27FC236}">
                <a16:creationId xmlns:a16="http://schemas.microsoft.com/office/drawing/2014/main" id="{CE6A0F81-E05B-C85A-2EE1-9ED5F10C1127}"/>
              </a:ext>
            </a:extLst>
          </p:cNvPr>
          <p:cNvSpPr/>
          <p:nvPr/>
        </p:nvSpPr>
        <p:spPr>
          <a:xfrm>
            <a:off x="703033" y="736005"/>
            <a:ext cx="558836" cy="525964"/>
          </a:xfrm>
          <a:custGeom>
            <a:avLst/>
            <a:gdLst>
              <a:gd name="connsiteX0" fmla="*/ 195014 w 558836"/>
              <a:gd name="connsiteY0" fmla="*/ 6909 h 525964"/>
              <a:gd name="connsiteX1" fmla="*/ 169843 w 558836"/>
              <a:gd name="connsiteY1" fmla="*/ 0 h 525964"/>
              <a:gd name="connsiteX2" fmla="*/ 82182 w 558836"/>
              <a:gd name="connsiteY2" fmla="*/ 0 h 525964"/>
              <a:gd name="connsiteX3" fmla="*/ 76778 w 558836"/>
              <a:gd name="connsiteY3" fmla="*/ 175 h 525964"/>
              <a:gd name="connsiteX4" fmla="*/ 0 w 558836"/>
              <a:gd name="connsiteY4" fmla="*/ 82182 h 525964"/>
              <a:gd name="connsiteX5" fmla="*/ 0 w 558836"/>
              <a:gd name="connsiteY5" fmla="*/ 378037 h 525964"/>
              <a:gd name="connsiteX6" fmla="*/ 175 w 558836"/>
              <a:gd name="connsiteY6" fmla="*/ 383441 h 525964"/>
              <a:gd name="connsiteX7" fmla="*/ 82182 w 558836"/>
              <a:gd name="connsiteY7" fmla="*/ 460219 h 525964"/>
              <a:gd name="connsiteX8" fmla="*/ 297107 w 558836"/>
              <a:gd name="connsiteY8" fmla="*/ 460219 h 525964"/>
              <a:gd name="connsiteX9" fmla="*/ 295855 w 558836"/>
              <a:gd name="connsiteY9" fmla="*/ 443782 h 525964"/>
              <a:gd name="connsiteX10" fmla="*/ 297498 w 558836"/>
              <a:gd name="connsiteY10" fmla="*/ 427346 h 525964"/>
              <a:gd name="connsiteX11" fmla="*/ 82182 w 558836"/>
              <a:gd name="connsiteY11" fmla="*/ 427346 h 525964"/>
              <a:gd name="connsiteX12" fmla="*/ 77433 w 558836"/>
              <a:gd name="connsiteY12" fmla="*/ 427119 h 525964"/>
              <a:gd name="connsiteX13" fmla="*/ 32873 w 558836"/>
              <a:gd name="connsiteY13" fmla="*/ 378037 h 525964"/>
              <a:gd name="connsiteX14" fmla="*/ 32873 w 558836"/>
              <a:gd name="connsiteY14" fmla="*/ 147895 h 525964"/>
              <a:gd name="connsiteX15" fmla="*/ 166712 w 558836"/>
              <a:gd name="connsiteY15" fmla="*/ 147927 h 525964"/>
              <a:gd name="connsiteX16" fmla="*/ 171739 w 558836"/>
              <a:gd name="connsiteY16" fmla="*/ 147671 h 525964"/>
              <a:gd name="connsiteX17" fmla="*/ 202418 w 558836"/>
              <a:gd name="connsiteY17" fmla="*/ 132625 h 525964"/>
              <a:gd name="connsiteX18" fmla="*/ 250392 w 558836"/>
              <a:gd name="connsiteY18" fmla="*/ 82182 h 525964"/>
              <a:gd name="connsiteX19" fmla="*/ 443782 w 558836"/>
              <a:gd name="connsiteY19" fmla="*/ 82182 h 525964"/>
              <a:gd name="connsiteX20" fmla="*/ 448532 w 558836"/>
              <a:gd name="connsiteY20" fmla="*/ 82408 h 525964"/>
              <a:gd name="connsiteX21" fmla="*/ 493091 w 558836"/>
              <a:gd name="connsiteY21" fmla="*/ 131491 h 525964"/>
              <a:gd name="connsiteX22" fmla="*/ 493091 w 558836"/>
              <a:gd name="connsiteY22" fmla="*/ 210430 h 525964"/>
              <a:gd name="connsiteX23" fmla="*/ 525964 w 558836"/>
              <a:gd name="connsiteY23" fmla="*/ 241322 h 525964"/>
              <a:gd name="connsiteX24" fmla="*/ 525964 w 558836"/>
              <a:gd name="connsiteY24" fmla="*/ 131491 h 525964"/>
              <a:gd name="connsiteX25" fmla="*/ 525790 w 558836"/>
              <a:gd name="connsiteY25" fmla="*/ 126087 h 525964"/>
              <a:gd name="connsiteX26" fmla="*/ 525270 w 558836"/>
              <a:gd name="connsiteY26" fmla="*/ 120777 h 525964"/>
              <a:gd name="connsiteX27" fmla="*/ 443782 w 558836"/>
              <a:gd name="connsiteY27" fmla="*/ 49309 h 525964"/>
              <a:gd name="connsiteX28" fmla="*/ 252035 w 558836"/>
              <a:gd name="connsiteY28" fmla="*/ 49309 h 525964"/>
              <a:gd name="connsiteX29" fmla="*/ 199428 w 558836"/>
              <a:gd name="connsiteY29" fmla="*/ 9862 h 525964"/>
              <a:gd name="connsiteX30" fmla="*/ 195014 w 558836"/>
              <a:gd name="connsiteY30" fmla="*/ 6909 h 525964"/>
              <a:gd name="connsiteX31" fmla="*/ 82182 w 558836"/>
              <a:gd name="connsiteY31" fmla="*/ 32873 h 525964"/>
              <a:gd name="connsiteX32" fmla="*/ 169843 w 558836"/>
              <a:gd name="connsiteY32" fmla="*/ 32873 h 525964"/>
              <a:gd name="connsiteX33" fmla="*/ 172484 w 558836"/>
              <a:gd name="connsiteY33" fmla="*/ 33086 h 525964"/>
              <a:gd name="connsiteX34" fmla="*/ 179704 w 558836"/>
              <a:gd name="connsiteY34" fmla="*/ 36160 h 525964"/>
              <a:gd name="connsiteX35" fmla="*/ 220050 w 558836"/>
              <a:gd name="connsiteY35" fmla="*/ 66436 h 525964"/>
              <a:gd name="connsiteX36" fmla="*/ 178614 w 558836"/>
              <a:gd name="connsiteY36" fmla="*/ 109954 h 525964"/>
              <a:gd name="connsiteX37" fmla="*/ 176617 w 558836"/>
              <a:gd name="connsiteY37" fmla="*/ 111735 h 525964"/>
              <a:gd name="connsiteX38" fmla="*/ 166712 w 558836"/>
              <a:gd name="connsiteY38" fmla="*/ 115055 h 525964"/>
              <a:gd name="connsiteX39" fmla="*/ 32873 w 558836"/>
              <a:gd name="connsiteY39" fmla="*/ 115022 h 525964"/>
              <a:gd name="connsiteX40" fmla="*/ 32873 w 558836"/>
              <a:gd name="connsiteY40" fmla="*/ 82182 h 525964"/>
              <a:gd name="connsiteX41" fmla="*/ 33099 w 558836"/>
              <a:gd name="connsiteY41" fmla="*/ 77433 h 525964"/>
              <a:gd name="connsiteX42" fmla="*/ 82182 w 558836"/>
              <a:gd name="connsiteY42" fmla="*/ 32873 h 525964"/>
              <a:gd name="connsiteX43" fmla="*/ 509528 w 558836"/>
              <a:gd name="connsiteY43" fmla="*/ 295855 h 525964"/>
              <a:gd name="connsiteX44" fmla="*/ 443782 w 558836"/>
              <a:gd name="connsiteY44" fmla="*/ 361600 h 525964"/>
              <a:gd name="connsiteX45" fmla="*/ 378037 w 558836"/>
              <a:gd name="connsiteY45" fmla="*/ 295855 h 525964"/>
              <a:gd name="connsiteX46" fmla="*/ 443782 w 558836"/>
              <a:gd name="connsiteY46" fmla="*/ 230109 h 525964"/>
              <a:gd name="connsiteX47" fmla="*/ 509528 w 558836"/>
              <a:gd name="connsiteY47" fmla="*/ 295855 h 525964"/>
              <a:gd name="connsiteX48" fmla="*/ 558837 w 558836"/>
              <a:gd name="connsiteY48" fmla="*/ 443782 h 525964"/>
              <a:gd name="connsiteX49" fmla="*/ 443782 w 558836"/>
              <a:gd name="connsiteY49" fmla="*/ 525964 h 525964"/>
              <a:gd name="connsiteX50" fmla="*/ 328728 w 558836"/>
              <a:gd name="connsiteY50" fmla="*/ 443782 h 525964"/>
              <a:gd name="connsiteX51" fmla="*/ 378037 w 558836"/>
              <a:gd name="connsiteY51" fmla="*/ 394473 h 525964"/>
              <a:gd name="connsiteX52" fmla="*/ 509528 w 558836"/>
              <a:gd name="connsiteY52" fmla="*/ 394473 h 525964"/>
              <a:gd name="connsiteX53" fmla="*/ 558837 w 558836"/>
              <a:gd name="connsiteY53" fmla="*/ 443782 h 525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558836" h="525964">
                <a:moveTo>
                  <a:pt x="195014" y="6909"/>
                </a:moveTo>
                <a:cubicBezTo>
                  <a:pt x="187424" y="2403"/>
                  <a:pt x="178733" y="0"/>
                  <a:pt x="169843" y="0"/>
                </a:cubicBezTo>
                <a:lnTo>
                  <a:pt x="82182" y="0"/>
                </a:lnTo>
                <a:lnTo>
                  <a:pt x="76778" y="175"/>
                </a:lnTo>
                <a:cubicBezTo>
                  <a:pt x="33910" y="2957"/>
                  <a:pt x="0" y="38610"/>
                  <a:pt x="0" y="82182"/>
                </a:cubicBezTo>
                <a:lnTo>
                  <a:pt x="0" y="378037"/>
                </a:lnTo>
                <a:lnTo>
                  <a:pt x="175" y="383441"/>
                </a:lnTo>
                <a:cubicBezTo>
                  <a:pt x="2957" y="426310"/>
                  <a:pt x="38610" y="460219"/>
                  <a:pt x="82182" y="460219"/>
                </a:cubicBezTo>
                <a:lnTo>
                  <a:pt x="297107" y="460219"/>
                </a:lnTo>
                <a:cubicBezTo>
                  <a:pt x="296269" y="454765"/>
                  <a:pt x="295855" y="449269"/>
                  <a:pt x="295855" y="443782"/>
                </a:cubicBezTo>
                <a:cubicBezTo>
                  <a:pt x="295855" y="438154"/>
                  <a:pt x="296420" y="432658"/>
                  <a:pt x="297498" y="427346"/>
                </a:cubicBezTo>
                <a:lnTo>
                  <a:pt x="82182" y="427346"/>
                </a:lnTo>
                <a:lnTo>
                  <a:pt x="77433" y="427119"/>
                </a:lnTo>
                <a:cubicBezTo>
                  <a:pt x="52428" y="424729"/>
                  <a:pt x="32873" y="403668"/>
                  <a:pt x="32873" y="378037"/>
                </a:cubicBezTo>
                <a:lnTo>
                  <a:pt x="32873" y="147895"/>
                </a:lnTo>
                <a:lnTo>
                  <a:pt x="166712" y="147927"/>
                </a:lnTo>
                <a:lnTo>
                  <a:pt x="171739" y="147671"/>
                </a:lnTo>
                <a:cubicBezTo>
                  <a:pt x="183377" y="146478"/>
                  <a:pt x="194275" y="141175"/>
                  <a:pt x="202418" y="132625"/>
                </a:cubicBezTo>
                <a:lnTo>
                  <a:pt x="250392" y="82182"/>
                </a:lnTo>
                <a:lnTo>
                  <a:pt x="443782" y="82182"/>
                </a:lnTo>
                <a:lnTo>
                  <a:pt x="448532" y="82408"/>
                </a:lnTo>
                <a:cubicBezTo>
                  <a:pt x="473535" y="84797"/>
                  <a:pt x="493091" y="105860"/>
                  <a:pt x="493091" y="131491"/>
                </a:cubicBezTo>
                <a:lnTo>
                  <a:pt x="493091" y="210430"/>
                </a:lnTo>
                <a:cubicBezTo>
                  <a:pt x="506286" y="218063"/>
                  <a:pt x="517549" y="228664"/>
                  <a:pt x="525964" y="241322"/>
                </a:cubicBezTo>
                <a:lnTo>
                  <a:pt x="525964" y="131491"/>
                </a:lnTo>
                <a:lnTo>
                  <a:pt x="525790" y="126087"/>
                </a:lnTo>
                <a:lnTo>
                  <a:pt x="525270" y="120777"/>
                </a:lnTo>
                <a:cubicBezTo>
                  <a:pt x="520021" y="80452"/>
                  <a:pt x="485540" y="49309"/>
                  <a:pt x="443782" y="49309"/>
                </a:cubicBezTo>
                <a:lnTo>
                  <a:pt x="252035" y="49309"/>
                </a:lnTo>
                <a:lnTo>
                  <a:pt x="199428" y="9862"/>
                </a:lnTo>
                <a:lnTo>
                  <a:pt x="195014" y="6909"/>
                </a:lnTo>
                <a:close/>
                <a:moveTo>
                  <a:pt x="82182" y="32873"/>
                </a:moveTo>
                <a:lnTo>
                  <a:pt x="169843" y="32873"/>
                </a:lnTo>
                <a:lnTo>
                  <a:pt x="172484" y="33086"/>
                </a:lnTo>
                <a:cubicBezTo>
                  <a:pt x="175091" y="33511"/>
                  <a:pt x="177571" y="34560"/>
                  <a:pt x="179704" y="36160"/>
                </a:cubicBezTo>
                <a:lnTo>
                  <a:pt x="220050" y="66436"/>
                </a:lnTo>
                <a:lnTo>
                  <a:pt x="178614" y="109954"/>
                </a:lnTo>
                <a:lnTo>
                  <a:pt x="176617" y="111735"/>
                </a:lnTo>
                <a:cubicBezTo>
                  <a:pt x="173783" y="113875"/>
                  <a:pt x="170310" y="115055"/>
                  <a:pt x="166712" y="115055"/>
                </a:cubicBezTo>
                <a:lnTo>
                  <a:pt x="32873" y="115022"/>
                </a:lnTo>
                <a:lnTo>
                  <a:pt x="32873" y="82182"/>
                </a:lnTo>
                <a:lnTo>
                  <a:pt x="33099" y="77433"/>
                </a:lnTo>
                <a:cubicBezTo>
                  <a:pt x="35488" y="52428"/>
                  <a:pt x="56551" y="32873"/>
                  <a:pt x="82182" y="32873"/>
                </a:cubicBezTo>
                <a:close/>
                <a:moveTo>
                  <a:pt x="509528" y="295855"/>
                </a:moveTo>
                <a:cubicBezTo>
                  <a:pt x="509528" y="332166"/>
                  <a:pt x="480093" y="361600"/>
                  <a:pt x="443782" y="361600"/>
                </a:cubicBezTo>
                <a:cubicBezTo>
                  <a:pt x="407471" y="361600"/>
                  <a:pt x="378037" y="332166"/>
                  <a:pt x="378037" y="295855"/>
                </a:cubicBezTo>
                <a:cubicBezTo>
                  <a:pt x="378037" y="259544"/>
                  <a:pt x="407471" y="230109"/>
                  <a:pt x="443782" y="230109"/>
                </a:cubicBezTo>
                <a:cubicBezTo>
                  <a:pt x="480093" y="230109"/>
                  <a:pt x="509528" y="259544"/>
                  <a:pt x="509528" y="295855"/>
                </a:cubicBezTo>
                <a:close/>
                <a:moveTo>
                  <a:pt x="558837" y="443782"/>
                </a:moveTo>
                <a:cubicBezTo>
                  <a:pt x="558837" y="484715"/>
                  <a:pt x="525964" y="525964"/>
                  <a:pt x="443782" y="525964"/>
                </a:cubicBezTo>
                <a:cubicBezTo>
                  <a:pt x="361600" y="525964"/>
                  <a:pt x="328728" y="484870"/>
                  <a:pt x="328728" y="443782"/>
                </a:cubicBezTo>
                <a:cubicBezTo>
                  <a:pt x="328728" y="416550"/>
                  <a:pt x="350805" y="394473"/>
                  <a:pt x="378037" y="394473"/>
                </a:cubicBezTo>
                <a:lnTo>
                  <a:pt x="509528" y="394473"/>
                </a:lnTo>
                <a:cubicBezTo>
                  <a:pt x="536759" y="394473"/>
                  <a:pt x="558837" y="416550"/>
                  <a:pt x="558837" y="443782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3600000" scaled="0"/>
          </a:gradFill>
          <a:ln w="3286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9" name="Graphic 49" descr="Folder Globe&#10;Keyword: fluent-icon;&#10;Metaphor: analog, collection, earth, planet, web;&#10;&#10;Used to represent collections of files.">
            <a:extLst>
              <a:ext uri="{FF2B5EF4-FFF2-40B4-BE49-F238E27FC236}">
                <a16:creationId xmlns:a16="http://schemas.microsoft.com/office/drawing/2014/main" id="{C0BAE5A7-287A-21A6-49A5-23D11270F874}"/>
              </a:ext>
            </a:extLst>
          </p:cNvPr>
          <p:cNvSpPr/>
          <p:nvPr/>
        </p:nvSpPr>
        <p:spPr>
          <a:xfrm>
            <a:off x="1641159" y="736005"/>
            <a:ext cx="557929" cy="525964"/>
          </a:xfrm>
          <a:custGeom>
            <a:avLst/>
            <a:gdLst>
              <a:gd name="connsiteX0" fmla="*/ 82182 w 557929"/>
              <a:gd name="connsiteY0" fmla="*/ 0 h 525964"/>
              <a:gd name="connsiteX1" fmla="*/ 0 w 557929"/>
              <a:gd name="connsiteY1" fmla="*/ 82182 h 525964"/>
              <a:gd name="connsiteX2" fmla="*/ 0 w 557929"/>
              <a:gd name="connsiteY2" fmla="*/ 378037 h 525964"/>
              <a:gd name="connsiteX3" fmla="*/ 82182 w 557929"/>
              <a:gd name="connsiteY3" fmla="*/ 460219 h 525964"/>
              <a:gd name="connsiteX4" fmla="*/ 249823 w 557929"/>
              <a:gd name="connsiteY4" fmla="*/ 460219 h 525964"/>
              <a:gd name="connsiteX5" fmla="*/ 236915 w 557929"/>
              <a:gd name="connsiteY5" fmla="*/ 427346 h 525964"/>
              <a:gd name="connsiteX6" fmla="*/ 82182 w 557929"/>
              <a:gd name="connsiteY6" fmla="*/ 427346 h 525964"/>
              <a:gd name="connsiteX7" fmla="*/ 32873 w 557929"/>
              <a:gd name="connsiteY7" fmla="*/ 378037 h 525964"/>
              <a:gd name="connsiteX8" fmla="*/ 32873 w 557929"/>
              <a:gd name="connsiteY8" fmla="*/ 147927 h 525964"/>
              <a:gd name="connsiteX9" fmla="*/ 166712 w 557929"/>
              <a:gd name="connsiteY9" fmla="*/ 147927 h 525964"/>
              <a:gd name="connsiteX10" fmla="*/ 202418 w 557929"/>
              <a:gd name="connsiteY10" fmla="*/ 132625 h 525964"/>
              <a:gd name="connsiteX11" fmla="*/ 250460 w 557929"/>
              <a:gd name="connsiteY11" fmla="*/ 82182 h 525964"/>
              <a:gd name="connsiteX12" fmla="*/ 443782 w 557929"/>
              <a:gd name="connsiteY12" fmla="*/ 82182 h 525964"/>
              <a:gd name="connsiteX13" fmla="*/ 493091 w 557929"/>
              <a:gd name="connsiteY13" fmla="*/ 131491 h 525964"/>
              <a:gd name="connsiteX14" fmla="*/ 493091 w 557929"/>
              <a:gd name="connsiteY14" fmla="*/ 216951 h 525964"/>
              <a:gd name="connsiteX15" fmla="*/ 525964 w 557929"/>
              <a:gd name="connsiteY15" fmla="*/ 238564 h 525964"/>
              <a:gd name="connsiteX16" fmla="*/ 525964 w 557929"/>
              <a:gd name="connsiteY16" fmla="*/ 131491 h 525964"/>
              <a:gd name="connsiteX17" fmla="*/ 443782 w 557929"/>
              <a:gd name="connsiteY17" fmla="*/ 49309 h 525964"/>
              <a:gd name="connsiteX18" fmla="*/ 252025 w 557929"/>
              <a:gd name="connsiteY18" fmla="*/ 49309 h 525964"/>
              <a:gd name="connsiteX19" fmla="*/ 199428 w 557929"/>
              <a:gd name="connsiteY19" fmla="*/ 9862 h 525964"/>
              <a:gd name="connsiteX20" fmla="*/ 169843 w 557929"/>
              <a:gd name="connsiteY20" fmla="*/ 0 h 525964"/>
              <a:gd name="connsiteX21" fmla="*/ 82182 w 557929"/>
              <a:gd name="connsiteY21" fmla="*/ 0 h 525964"/>
              <a:gd name="connsiteX22" fmla="*/ 32873 w 557929"/>
              <a:gd name="connsiteY22" fmla="*/ 82182 h 525964"/>
              <a:gd name="connsiteX23" fmla="*/ 82182 w 557929"/>
              <a:gd name="connsiteY23" fmla="*/ 32873 h 525964"/>
              <a:gd name="connsiteX24" fmla="*/ 169843 w 557929"/>
              <a:gd name="connsiteY24" fmla="*/ 32873 h 525964"/>
              <a:gd name="connsiteX25" fmla="*/ 179704 w 557929"/>
              <a:gd name="connsiteY25" fmla="*/ 36160 h 525964"/>
              <a:gd name="connsiteX26" fmla="*/ 220065 w 557929"/>
              <a:gd name="connsiteY26" fmla="*/ 66431 h 525964"/>
              <a:gd name="connsiteX27" fmla="*/ 178614 w 557929"/>
              <a:gd name="connsiteY27" fmla="*/ 109954 h 525964"/>
              <a:gd name="connsiteX28" fmla="*/ 166712 w 557929"/>
              <a:gd name="connsiteY28" fmla="*/ 115055 h 525964"/>
              <a:gd name="connsiteX29" fmla="*/ 32873 w 557929"/>
              <a:gd name="connsiteY29" fmla="*/ 115055 h 525964"/>
              <a:gd name="connsiteX30" fmla="*/ 32873 w 557929"/>
              <a:gd name="connsiteY30" fmla="*/ 82182 h 525964"/>
              <a:gd name="connsiteX31" fmla="*/ 361936 w 557929"/>
              <a:gd name="connsiteY31" fmla="*/ 361600 h 525964"/>
              <a:gd name="connsiteX32" fmla="*/ 379677 w 557929"/>
              <a:gd name="connsiteY32" fmla="*/ 267919 h 525964"/>
              <a:gd name="connsiteX33" fmla="*/ 397257 w 557929"/>
              <a:gd name="connsiteY33" fmla="*/ 237884 h 525964"/>
              <a:gd name="connsiteX34" fmla="*/ 410906 w 557929"/>
              <a:gd name="connsiteY34" fmla="*/ 230109 h 525964"/>
              <a:gd name="connsiteX35" fmla="*/ 424555 w 557929"/>
              <a:gd name="connsiteY35" fmla="*/ 237884 h 525964"/>
              <a:gd name="connsiteX36" fmla="*/ 442135 w 557929"/>
              <a:gd name="connsiteY36" fmla="*/ 267919 h 525964"/>
              <a:gd name="connsiteX37" fmla="*/ 459877 w 557929"/>
              <a:gd name="connsiteY37" fmla="*/ 361600 h 525964"/>
              <a:gd name="connsiteX38" fmla="*/ 361936 w 557929"/>
              <a:gd name="connsiteY38" fmla="*/ 361600 h 525964"/>
              <a:gd name="connsiteX39" fmla="*/ 349155 w 557929"/>
              <a:gd name="connsiteY39" fmla="*/ 255711 h 525964"/>
              <a:gd name="connsiteX40" fmla="*/ 355992 w 557929"/>
              <a:gd name="connsiteY40" fmla="*/ 240635 h 525964"/>
              <a:gd name="connsiteX41" fmla="*/ 263879 w 557929"/>
              <a:gd name="connsiteY41" fmla="*/ 361600 h 525964"/>
              <a:gd name="connsiteX42" fmla="*/ 329037 w 557929"/>
              <a:gd name="connsiteY42" fmla="*/ 361600 h 525964"/>
              <a:gd name="connsiteX43" fmla="*/ 349155 w 557929"/>
              <a:gd name="connsiteY43" fmla="*/ 255711 h 525964"/>
              <a:gd name="connsiteX44" fmla="*/ 472654 w 557929"/>
              <a:gd name="connsiteY44" fmla="*/ 255711 h 525964"/>
              <a:gd name="connsiteX45" fmla="*/ 465817 w 557929"/>
              <a:gd name="connsiteY45" fmla="*/ 240635 h 525964"/>
              <a:gd name="connsiteX46" fmla="*/ 557930 w 557929"/>
              <a:gd name="connsiteY46" fmla="*/ 361600 h 525964"/>
              <a:gd name="connsiteX47" fmla="*/ 492776 w 557929"/>
              <a:gd name="connsiteY47" fmla="*/ 361600 h 525964"/>
              <a:gd name="connsiteX48" fmla="*/ 472654 w 557929"/>
              <a:gd name="connsiteY48" fmla="*/ 255711 h 525964"/>
              <a:gd name="connsiteX49" fmla="*/ 492776 w 557929"/>
              <a:gd name="connsiteY49" fmla="*/ 394473 h 525964"/>
              <a:gd name="connsiteX50" fmla="*/ 557930 w 557929"/>
              <a:gd name="connsiteY50" fmla="*/ 394473 h 525964"/>
              <a:gd name="connsiteX51" fmla="*/ 465817 w 557929"/>
              <a:gd name="connsiteY51" fmla="*/ 515438 h 525964"/>
              <a:gd name="connsiteX52" fmla="*/ 472654 w 557929"/>
              <a:gd name="connsiteY52" fmla="*/ 500363 h 525964"/>
              <a:gd name="connsiteX53" fmla="*/ 492776 w 557929"/>
              <a:gd name="connsiteY53" fmla="*/ 394473 h 525964"/>
              <a:gd name="connsiteX54" fmla="*/ 424555 w 557929"/>
              <a:gd name="connsiteY54" fmla="*/ 518190 h 525964"/>
              <a:gd name="connsiteX55" fmla="*/ 410906 w 557929"/>
              <a:gd name="connsiteY55" fmla="*/ 525964 h 525964"/>
              <a:gd name="connsiteX56" fmla="*/ 397257 w 557929"/>
              <a:gd name="connsiteY56" fmla="*/ 518190 h 525964"/>
              <a:gd name="connsiteX57" fmla="*/ 379677 w 557929"/>
              <a:gd name="connsiteY57" fmla="*/ 488154 h 525964"/>
              <a:gd name="connsiteX58" fmla="*/ 361936 w 557929"/>
              <a:gd name="connsiteY58" fmla="*/ 394473 h 525964"/>
              <a:gd name="connsiteX59" fmla="*/ 459877 w 557929"/>
              <a:gd name="connsiteY59" fmla="*/ 394473 h 525964"/>
              <a:gd name="connsiteX60" fmla="*/ 442135 w 557929"/>
              <a:gd name="connsiteY60" fmla="*/ 488154 h 525964"/>
              <a:gd name="connsiteX61" fmla="*/ 424555 w 557929"/>
              <a:gd name="connsiteY61" fmla="*/ 518190 h 525964"/>
              <a:gd name="connsiteX62" fmla="*/ 263879 w 557929"/>
              <a:gd name="connsiteY62" fmla="*/ 394473 h 525964"/>
              <a:gd name="connsiteX63" fmla="*/ 355992 w 557929"/>
              <a:gd name="connsiteY63" fmla="*/ 515438 h 525964"/>
              <a:gd name="connsiteX64" fmla="*/ 349155 w 557929"/>
              <a:gd name="connsiteY64" fmla="*/ 500363 h 525964"/>
              <a:gd name="connsiteX65" fmla="*/ 329037 w 557929"/>
              <a:gd name="connsiteY65" fmla="*/ 394473 h 525964"/>
              <a:gd name="connsiteX66" fmla="*/ 263879 w 557929"/>
              <a:gd name="connsiteY66" fmla="*/ 394473 h 525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557929" h="525964">
                <a:moveTo>
                  <a:pt x="82182" y="0"/>
                </a:moveTo>
                <a:cubicBezTo>
                  <a:pt x="36794" y="0"/>
                  <a:pt x="0" y="36794"/>
                  <a:pt x="0" y="82182"/>
                </a:cubicBezTo>
                <a:lnTo>
                  <a:pt x="0" y="378037"/>
                </a:lnTo>
                <a:cubicBezTo>
                  <a:pt x="0" y="423424"/>
                  <a:pt x="36794" y="460219"/>
                  <a:pt x="82182" y="460219"/>
                </a:cubicBezTo>
                <a:lnTo>
                  <a:pt x="249823" y="460219"/>
                </a:lnTo>
                <a:cubicBezTo>
                  <a:pt x="244500" y="449804"/>
                  <a:pt x="240156" y="438805"/>
                  <a:pt x="236915" y="427346"/>
                </a:cubicBezTo>
                <a:lnTo>
                  <a:pt x="82182" y="427346"/>
                </a:lnTo>
                <a:cubicBezTo>
                  <a:pt x="54949" y="427346"/>
                  <a:pt x="32873" y="405268"/>
                  <a:pt x="32873" y="378037"/>
                </a:cubicBezTo>
                <a:lnTo>
                  <a:pt x="32873" y="147927"/>
                </a:lnTo>
                <a:lnTo>
                  <a:pt x="166712" y="147927"/>
                </a:lnTo>
                <a:cubicBezTo>
                  <a:pt x="180206" y="147927"/>
                  <a:pt x="193112" y="142397"/>
                  <a:pt x="202418" y="132625"/>
                </a:cubicBezTo>
                <a:lnTo>
                  <a:pt x="250460" y="82182"/>
                </a:lnTo>
                <a:lnTo>
                  <a:pt x="443782" y="82182"/>
                </a:lnTo>
                <a:cubicBezTo>
                  <a:pt x="471014" y="82182"/>
                  <a:pt x="493091" y="104258"/>
                  <a:pt x="493091" y="131491"/>
                </a:cubicBezTo>
                <a:lnTo>
                  <a:pt x="493091" y="216951"/>
                </a:lnTo>
                <a:cubicBezTo>
                  <a:pt x="504853" y="222963"/>
                  <a:pt x="515869" y="230224"/>
                  <a:pt x="525964" y="238564"/>
                </a:cubicBezTo>
                <a:lnTo>
                  <a:pt x="525964" y="131491"/>
                </a:lnTo>
                <a:cubicBezTo>
                  <a:pt x="525964" y="86103"/>
                  <a:pt x="489170" y="49309"/>
                  <a:pt x="443782" y="49309"/>
                </a:cubicBezTo>
                <a:lnTo>
                  <a:pt x="252025" y="49309"/>
                </a:lnTo>
                <a:lnTo>
                  <a:pt x="199428" y="9862"/>
                </a:lnTo>
                <a:cubicBezTo>
                  <a:pt x="190893" y="3461"/>
                  <a:pt x="180512" y="0"/>
                  <a:pt x="169843" y="0"/>
                </a:cubicBezTo>
                <a:lnTo>
                  <a:pt x="82182" y="0"/>
                </a:lnTo>
                <a:close/>
                <a:moveTo>
                  <a:pt x="32873" y="82182"/>
                </a:moveTo>
                <a:cubicBezTo>
                  <a:pt x="32873" y="54949"/>
                  <a:pt x="54949" y="32873"/>
                  <a:pt x="82182" y="32873"/>
                </a:cubicBezTo>
                <a:lnTo>
                  <a:pt x="169843" y="32873"/>
                </a:lnTo>
                <a:cubicBezTo>
                  <a:pt x="173399" y="32873"/>
                  <a:pt x="176859" y="34026"/>
                  <a:pt x="179704" y="36160"/>
                </a:cubicBezTo>
                <a:lnTo>
                  <a:pt x="220065" y="66431"/>
                </a:lnTo>
                <a:lnTo>
                  <a:pt x="178614" y="109954"/>
                </a:lnTo>
                <a:cubicBezTo>
                  <a:pt x="175512" y="113211"/>
                  <a:pt x="171210" y="115055"/>
                  <a:pt x="166712" y="115055"/>
                </a:cubicBezTo>
                <a:lnTo>
                  <a:pt x="32873" y="115055"/>
                </a:lnTo>
                <a:lnTo>
                  <a:pt x="32873" y="82182"/>
                </a:lnTo>
                <a:close/>
                <a:moveTo>
                  <a:pt x="361936" y="361600"/>
                </a:moveTo>
                <a:cubicBezTo>
                  <a:pt x="363467" y="324510"/>
                  <a:pt x="370121" y="291808"/>
                  <a:pt x="379677" y="267919"/>
                </a:cubicBezTo>
                <a:cubicBezTo>
                  <a:pt x="385167" y="254192"/>
                  <a:pt x="391294" y="244189"/>
                  <a:pt x="397257" y="237884"/>
                </a:cubicBezTo>
                <a:cubicBezTo>
                  <a:pt x="403184" y="231612"/>
                  <a:pt x="407803" y="230109"/>
                  <a:pt x="410906" y="230109"/>
                </a:cubicBezTo>
                <a:cubicBezTo>
                  <a:pt x="414006" y="230109"/>
                  <a:pt x="418625" y="231612"/>
                  <a:pt x="424555" y="237884"/>
                </a:cubicBezTo>
                <a:cubicBezTo>
                  <a:pt x="430518" y="244189"/>
                  <a:pt x="436642" y="254192"/>
                  <a:pt x="442135" y="267919"/>
                </a:cubicBezTo>
                <a:cubicBezTo>
                  <a:pt x="451688" y="291808"/>
                  <a:pt x="458341" y="324510"/>
                  <a:pt x="459877" y="361600"/>
                </a:cubicBezTo>
                <a:lnTo>
                  <a:pt x="361936" y="361600"/>
                </a:lnTo>
                <a:close/>
                <a:moveTo>
                  <a:pt x="349155" y="255711"/>
                </a:moveTo>
                <a:cubicBezTo>
                  <a:pt x="351258" y="250454"/>
                  <a:pt x="353537" y="245408"/>
                  <a:pt x="355992" y="240635"/>
                </a:cubicBezTo>
                <a:cubicBezTo>
                  <a:pt x="306344" y="260497"/>
                  <a:pt x="269974" y="306486"/>
                  <a:pt x="263879" y="361600"/>
                </a:cubicBezTo>
                <a:lnTo>
                  <a:pt x="329037" y="361600"/>
                </a:lnTo>
                <a:cubicBezTo>
                  <a:pt x="330585" y="321048"/>
                  <a:pt x="337820" y="284050"/>
                  <a:pt x="349155" y="255711"/>
                </a:cubicBezTo>
                <a:close/>
                <a:moveTo>
                  <a:pt x="472654" y="255711"/>
                </a:moveTo>
                <a:cubicBezTo>
                  <a:pt x="470554" y="250454"/>
                  <a:pt x="468276" y="245408"/>
                  <a:pt x="465817" y="240635"/>
                </a:cubicBezTo>
                <a:cubicBezTo>
                  <a:pt x="515464" y="260497"/>
                  <a:pt x="551838" y="306486"/>
                  <a:pt x="557930" y="361600"/>
                </a:cubicBezTo>
                <a:lnTo>
                  <a:pt x="492776" y="361600"/>
                </a:lnTo>
                <a:cubicBezTo>
                  <a:pt x="491227" y="321048"/>
                  <a:pt x="483992" y="284050"/>
                  <a:pt x="472654" y="255711"/>
                </a:cubicBezTo>
                <a:close/>
                <a:moveTo>
                  <a:pt x="492776" y="394473"/>
                </a:moveTo>
                <a:lnTo>
                  <a:pt x="557930" y="394473"/>
                </a:lnTo>
                <a:cubicBezTo>
                  <a:pt x="551838" y="449587"/>
                  <a:pt x="515464" y="495576"/>
                  <a:pt x="465817" y="515438"/>
                </a:cubicBezTo>
                <a:cubicBezTo>
                  <a:pt x="468276" y="510665"/>
                  <a:pt x="470554" y="505619"/>
                  <a:pt x="472654" y="500363"/>
                </a:cubicBezTo>
                <a:cubicBezTo>
                  <a:pt x="483992" y="472023"/>
                  <a:pt x="491227" y="435025"/>
                  <a:pt x="492776" y="394473"/>
                </a:cubicBezTo>
                <a:close/>
                <a:moveTo>
                  <a:pt x="424555" y="518190"/>
                </a:moveTo>
                <a:cubicBezTo>
                  <a:pt x="418625" y="524462"/>
                  <a:pt x="414006" y="525964"/>
                  <a:pt x="410906" y="525964"/>
                </a:cubicBezTo>
                <a:cubicBezTo>
                  <a:pt x="407803" y="525964"/>
                  <a:pt x="403184" y="524462"/>
                  <a:pt x="397257" y="518190"/>
                </a:cubicBezTo>
                <a:cubicBezTo>
                  <a:pt x="391294" y="511885"/>
                  <a:pt x="385167" y="501881"/>
                  <a:pt x="379677" y="488154"/>
                </a:cubicBezTo>
                <a:cubicBezTo>
                  <a:pt x="370121" y="464265"/>
                  <a:pt x="363467" y="431563"/>
                  <a:pt x="361936" y="394473"/>
                </a:cubicBezTo>
                <a:lnTo>
                  <a:pt x="459877" y="394473"/>
                </a:lnTo>
                <a:cubicBezTo>
                  <a:pt x="458341" y="431563"/>
                  <a:pt x="451688" y="464265"/>
                  <a:pt x="442135" y="488154"/>
                </a:cubicBezTo>
                <a:cubicBezTo>
                  <a:pt x="436642" y="501881"/>
                  <a:pt x="430518" y="511885"/>
                  <a:pt x="424555" y="518190"/>
                </a:cubicBezTo>
                <a:close/>
                <a:moveTo>
                  <a:pt x="263879" y="394473"/>
                </a:moveTo>
                <a:cubicBezTo>
                  <a:pt x="269974" y="449587"/>
                  <a:pt x="306344" y="495576"/>
                  <a:pt x="355992" y="515438"/>
                </a:cubicBezTo>
                <a:cubicBezTo>
                  <a:pt x="353537" y="510665"/>
                  <a:pt x="351258" y="505619"/>
                  <a:pt x="349155" y="500363"/>
                </a:cubicBezTo>
                <a:cubicBezTo>
                  <a:pt x="337820" y="472023"/>
                  <a:pt x="330585" y="435025"/>
                  <a:pt x="329037" y="394473"/>
                </a:cubicBezTo>
                <a:lnTo>
                  <a:pt x="263879" y="394473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3600000" scaled="0"/>
          </a:gradFill>
          <a:ln w="3286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0" name="Graphic 59" descr="Database Multiple&#10;Keyword: fluent-icon;&#10;Metaphor: data, information;&#10;&#10;Used to represent copying over a database, or it's contents.">
            <a:extLst>
              <a:ext uri="{FF2B5EF4-FFF2-40B4-BE49-F238E27FC236}">
                <a16:creationId xmlns:a16="http://schemas.microsoft.com/office/drawing/2014/main" id="{67875176-F694-908B-4602-859A8675CD74}"/>
              </a:ext>
            </a:extLst>
          </p:cNvPr>
          <p:cNvSpPr/>
          <p:nvPr/>
        </p:nvSpPr>
        <p:spPr>
          <a:xfrm>
            <a:off x="2568411" y="670259"/>
            <a:ext cx="525964" cy="591689"/>
          </a:xfrm>
          <a:custGeom>
            <a:avLst/>
            <a:gdLst>
              <a:gd name="connsiteX0" fmla="*/ 194081 w 525964"/>
              <a:gd name="connsiteY0" fmla="*/ 25544 h 591689"/>
              <a:gd name="connsiteX1" fmla="*/ 131491 w 525964"/>
              <a:gd name="connsiteY1" fmla="*/ 98618 h 591689"/>
              <a:gd name="connsiteX2" fmla="*/ 131491 w 525964"/>
              <a:gd name="connsiteY2" fmla="*/ 197684 h 591689"/>
              <a:gd name="connsiteX3" fmla="*/ 147927 w 525964"/>
              <a:gd name="connsiteY3" fmla="*/ 197237 h 591689"/>
              <a:gd name="connsiteX4" fmla="*/ 164364 w 525964"/>
              <a:gd name="connsiteY4" fmla="*/ 197683 h 591689"/>
              <a:gd name="connsiteX5" fmla="*/ 164364 w 525964"/>
              <a:gd name="connsiteY5" fmla="*/ 154440 h 591689"/>
              <a:gd name="connsiteX6" fmla="*/ 194081 w 525964"/>
              <a:gd name="connsiteY6" fmla="*/ 171693 h 591689"/>
              <a:gd name="connsiteX7" fmla="*/ 328728 w 525964"/>
              <a:gd name="connsiteY7" fmla="*/ 197237 h 591689"/>
              <a:gd name="connsiteX8" fmla="*/ 463374 w 525964"/>
              <a:gd name="connsiteY8" fmla="*/ 171693 h 591689"/>
              <a:gd name="connsiteX9" fmla="*/ 493091 w 525964"/>
              <a:gd name="connsiteY9" fmla="*/ 154440 h 591689"/>
              <a:gd name="connsiteX10" fmla="*/ 493091 w 525964"/>
              <a:gd name="connsiteY10" fmla="*/ 427346 h 591689"/>
              <a:gd name="connsiteX11" fmla="*/ 449772 w 525964"/>
              <a:gd name="connsiteY11" fmla="*/ 470495 h 591689"/>
              <a:gd name="connsiteX12" fmla="*/ 328731 w 525964"/>
              <a:gd name="connsiteY12" fmla="*/ 493091 h 591689"/>
              <a:gd name="connsiteX13" fmla="*/ 328728 w 525964"/>
              <a:gd name="connsiteY13" fmla="*/ 509508 h 591689"/>
              <a:gd name="connsiteX14" fmla="*/ 327051 w 525964"/>
              <a:gd name="connsiteY14" fmla="*/ 525961 h 591689"/>
              <a:gd name="connsiteX15" fmla="*/ 328728 w 525964"/>
              <a:gd name="connsiteY15" fmla="*/ 525964 h 591689"/>
              <a:gd name="connsiteX16" fmla="*/ 463374 w 525964"/>
              <a:gd name="connsiteY16" fmla="*/ 500419 h 591689"/>
              <a:gd name="connsiteX17" fmla="*/ 525964 w 525964"/>
              <a:gd name="connsiteY17" fmla="*/ 427346 h 591689"/>
              <a:gd name="connsiteX18" fmla="*/ 525964 w 525964"/>
              <a:gd name="connsiteY18" fmla="*/ 98618 h 591689"/>
              <a:gd name="connsiteX19" fmla="*/ 463374 w 525964"/>
              <a:gd name="connsiteY19" fmla="*/ 25544 h 591689"/>
              <a:gd name="connsiteX20" fmla="*/ 328728 w 525964"/>
              <a:gd name="connsiteY20" fmla="*/ 0 h 591689"/>
              <a:gd name="connsiteX21" fmla="*/ 194081 w 525964"/>
              <a:gd name="connsiteY21" fmla="*/ 25544 h 591689"/>
              <a:gd name="connsiteX22" fmla="*/ 207684 w 525964"/>
              <a:gd name="connsiteY22" fmla="*/ 141766 h 591689"/>
              <a:gd name="connsiteX23" fmla="*/ 164364 w 525964"/>
              <a:gd name="connsiteY23" fmla="*/ 98618 h 591689"/>
              <a:gd name="connsiteX24" fmla="*/ 207684 w 525964"/>
              <a:gd name="connsiteY24" fmla="*/ 55470 h 591689"/>
              <a:gd name="connsiteX25" fmla="*/ 328728 w 525964"/>
              <a:gd name="connsiteY25" fmla="*/ 32873 h 591689"/>
              <a:gd name="connsiteX26" fmla="*/ 449772 w 525964"/>
              <a:gd name="connsiteY26" fmla="*/ 55470 h 591689"/>
              <a:gd name="connsiteX27" fmla="*/ 493091 w 525964"/>
              <a:gd name="connsiteY27" fmla="*/ 98618 h 591689"/>
              <a:gd name="connsiteX28" fmla="*/ 449772 w 525964"/>
              <a:gd name="connsiteY28" fmla="*/ 141766 h 591689"/>
              <a:gd name="connsiteX29" fmla="*/ 328728 w 525964"/>
              <a:gd name="connsiteY29" fmla="*/ 164364 h 591689"/>
              <a:gd name="connsiteX30" fmla="*/ 207684 w 525964"/>
              <a:gd name="connsiteY30" fmla="*/ 141766 h 591689"/>
              <a:gd name="connsiteX31" fmla="*/ 164364 w 525964"/>
              <a:gd name="connsiteY31" fmla="*/ 230611 h 591689"/>
              <a:gd name="connsiteX32" fmla="*/ 193267 w 525964"/>
              <a:gd name="connsiteY32" fmla="*/ 234042 h 591689"/>
              <a:gd name="connsiteX33" fmla="*/ 230103 w 525964"/>
              <a:gd name="connsiteY33" fmla="*/ 243946 h 591689"/>
              <a:gd name="connsiteX34" fmla="*/ 295855 w 525964"/>
              <a:gd name="connsiteY34" fmla="*/ 312291 h 591689"/>
              <a:gd name="connsiteX35" fmla="*/ 147927 w 525964"/>
              <a:gd name="connsiteY35" fmla="*/ 394473 h 591689"/>
              <a:gd name="connsiteX36" fmla="*/ 0 w 525964"/>
              <a:gd name="connsiteY36" fmla="*/ 312291 h 591689"/>
              <a:gd name="connsiteX37" fmla="*/ 131491 w 525964"/>
              <a:gd name="connsiteY37" fmla="*/ 230611 h 591689"/>
              <a:gd name="connsiteX38" fmla="*/ 147927 w 525964"/>
              <a:gd name="connsiteY38" fmla="*/ 230109 h 591689"/>
              <a:gd name="connsiteX39" fmla="*/ 164364 w 525964"/>
              <a:gd name="connsiteY39" fmla="*/ 230611 h 591689"/>
              <a:gd name="connsiteX40" fmla="*/ 293412 w 525964"/>
              <a:gd name="connsiteY40" fmla="*/ 524462 h 591689"/>
              <a:gd name="connsiteX41" fmla="*/ 147927 w 525964"/>
              <a:gd name="connsiteY41" fmla="*/ 591690 h 591689"/>
              <a:gd name="connsiteX42" fmla="*/ 0 w 525964"/>
              <a:gd name="connsiteY42" fmla="*/ 509508 h 591689"/>
              <a:gd name="connsiteX43" fmla="*/ 0 w 525964"/>
              <a:gd name="connsiteY43" fmla="*/ 379805 h 591689"/>
              <a:gd name="connsiteX44" fmla="*/ 27363 w 525964"/>
              <a:gd name="connsiteY44" fmla="*/ 399138 h 591689"/>
              <a:gd name="connsiteX45" fmla="*/ 147927 w 525964"/>
              <a:gd name="connsiteY45" fmla="*/ 427346 h 591689"/>
              <a:gd name="connsiteX46" fmla="*/ 268491 w 525964"/>
              <a:gd name="connsiteY46" fmla="*/ 399138 h 591689"/>
              <a:gd name="connsiteX47" fmla="*/ 295897 w 525964"/>
              <a:gd name="connsiteY47" fmla="*/ 379766 h 591689"/>
              <a:gd name="connsiteX48" fmla="*/ 295858 w 525964"/>
              <a:gd name="connsiteY48" fmla="*/ 491678 h 591689"/>
              <a:gd name="connsiteX49" fmla="*/ 295858 w 525964"/>
              <a:gd name="connsiteY49" fmla="*/ 491737 h 591689"/>
              <a:gd name="connsiteX50" fmla="*/ 295855 w 525964"/>
              <a:gd name="connsiteY50" fmla="*/ 509508 h 591689"/>
              <a:gd name="connsiteX51" fmla="*/ 293412 w 525964"/>
              <a:gd name="connsiteY51" fmla="*/ 524462 h 5916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525964" h="591689">
                <a:moveTo>
                  <a:pt x="194081" y="25544"/>
                </a:moveTo>
                <a:cubicBezTo>
                  <a:pt x="160259" y="40917"/>
                  <a:pt x="131491" y="65515"/>
                  <a:pt x="131491" y="98618"/>
                </a:cubicBezTo>
                <a:lnTo>
                  <a:pt x="131491" y="197684"/>
                </a:lnTo>
                <a:cubicBezTo>
                  <a:pt x="136921" y="197387"/>
                  <a:pt x="142404" y="197237"/>
                  <a:pt x="147927" y="197237"/>
                </a:cubicBezTo>
                <a:cubicBezTo>
                  <a:pt x="153463" y="197237"/>
                  <a:pt x="158946" y="197387"/>
                  <a:pt x="164364" y="197683"/>
                </a:cubicBezTo>
                <a:lnTo>
                  <a:pt x="164364" y="154440"/>
                </a:lnTo>
                <a:cubicBezTo>
                  <a:pt x="173274" y="161092"/>
                  <a:pt x="183427" y="166850"/>
                  <a:pt x="194081" y="171693"/>
                </a:cubicBezTo>
                <a:cubicBezTo>
                  <a:pt x="229387" y="187741"/>
                  <a:pt x="277006" y="197237"/>
                  <a:pt x="328728" y="197237"/>
                </a:cubicBezTo>
                <a:cubicBezTo>
                  <a:pt x="380449" y="197237"/>
                  <a:pt x="428069" y="187741"/>
                  <a:pt x="463374" y="171693"/>
                </a:cubicBezTo>
                <a:cubicBezTo>
                  <a:pt x="474028" y="166850"/>
                  <a:pt x="484183" y="161092"/>
                  <a:pt x="493091" y="154440"/>
                </a:cubicBezTo>
                <a:lnTo>
                  <a:pt x="493091" y="427346"/>
                </a:lnTo>
                <a:cubicBezTo>
                  <a:pt x="493091" y="439630"/>
                  <a:pt x="481385" y="456123"/>
                  <a:pt x="449772" y="470495"/>
                </a:cubicBezTo>
                <a:cubicBezTo>
                  <a:pt x="419640" y="484189"/>
                  <a:pt x="376860" y="493091"/>
                  <a:pt x="328731" y="493091"/>
                </a:cubicBezTo>
                <a:lnTo>
                  <a:pt x="328728" y="509508"/>
                </a:lnTo>
                <a:cubicBezTo>
                  <a:pt x="328728" y="515211"/>
                  <a:pt x="328142" y="520698"/>
                  <a:pt x="327051" y="525961"/>
                </a:cubicBezTo>
                <a:lnTo>
                  <a:pt x="328728" y="525964"/>
                </a:lnTo>
                <a:cubicBezTo>
                  <a:pt x="380449" y="525964"/>
                  <a:pt x="428069" y="516467"/>
                  <a:pt x="463374" y="500419"/>
                </a:cubicBezTo>
                <a:cubicBezTo>
                  <a:pt x="497197" y="485047"/>
                  <a:pt x="525964" y="460449"/>
                  <a:pt x="525964" y="427346"/>
                </a:cubicBezTo>
                <a:lnTo>
                  <a:pt x="525964" y="98618"/>
                </a:lnTo>
                <a:cubicBezTo>
                  <a:pt x="525964" y="65515"/>
                  <a:pt x="497197" y="40917"/>
                  <a:pt x="463374" y="25544"/>
                </a:cubicBezTo>
                <a:cubicBezTo>
                  <a:pt x="428069" y="9496"/>
                  <a:pt x="380449" y="0"/>
                  <a:pt x="328728" y="0"/>
                </a:cubicBezTo>
                <a:cubicBezTo>
                  <a:pt x="277006" y="0"/>
                  <a:pt x="229387" y="9496"/>
                  <a:pt x="194081" y="25544"/>
                </a:cubicBezTo>
                <a:close/>
                <a:moveTo>
                  <a:pt x="207684" y="141766"/>
                </a:moveTo>
                <a:cubicBezTo>
                  <a:pt x="176069" y="127396"/>
                  <a:pt x="164364" y="110903"/>
                  <a:pt x="164364" y="98618"/>
                </a:cubicBezTo>
                <a:cubicBezTo>
                  <a:pt x="164364" y="86333"/>
                  <a:pt x="176069" y="69840"/>
                  <a:pt x="207684" y="55470"/>
                </a:cubicBezTo>
                <a:cubicBezTo>
                  <a:pt x="237815" y="41774"/>
                  <a:pt x="280595" y="32873"/>
                  <a:pt x="328728" y="32873"/>
                </a:cubicBezTo>
                <a:cubicBezTo>
                  <a:pt x="376860" y="32873"/>
                  <a:pt x="419640" y="41774"/>
                  <a:pt x="449772" y="55470"/>
                </a:cubicBezTo>
                <a:cubicBezTo>
                  <a:pt x="481385" y="69840"/>
                  <a:pt x="493091" y="86333"/>
                  <a:pt x="493091" y="98618"/>
                </a:cubicBezTo>
                <a:cubicBezTo>
                  <a:pt x="493091" y="110903"/>
                  <a:pt x="481385" y="127396"/>
                  <a:pt x="449772" y="141766"/>
                </a:cubicBezTo>
                <a:cubicBezTo>
                  <a:pt x="419640" y="155462"/>
                  <a:pt x="376860" y="164364"/>
                  <a:pt x="328728" y="164364"/>
                </a:cubicBezTo>
                <a:cubicBezTo>
                  <a:pt x="280595" y="164364"/>
                  <a:pt x="237815" y="155462"/>
                  <a:pt x="207684" y="141766"/>
                </a:cubicBezTo>
                <a:close/>
                <a:moveTo>
                  <a:pt x="164364" y="230611"/>
                </a:moveTo>
                <a:cubicBezTo>
                  <a:pt x="174330" y="231223"/>
                  <a:pt x="183998" y="232385"/>
                  <a:pt x="193267" y="234042"/>
                </a:cubicBezTo>
                <a:cubicBezTo>
                  <a:pt x="206449" y="236397"/>
                  <a:pt x="218824" y="239752"/>
                  <a:pt x="230103" y="243946"/>
                </a:cubicBezTo>
                <a:cubicBezTo>
                  <a:pt x="269751" y="258688"/>
                  <a:pt x="295855" y="283796"/>
                  <a:pt x="295855" y="312291"/>
                </a:cubicBezTo>
                <a:cubicBezTo>
                  <a:pt x="295855" y="357679"/>
                  <a:pt x="229625" y="394473"/>
                  <a:pt x="147927" y="394473"/>
                </a:cubicBezTo>
                <a:cubicBezTo>
                  <a:pt x="66229" y="394473"/>
                  <a:pt x="0" y="357679"/>
                  <a:pt x="0" y="312291"/>
                </a:cubicBezTo>
                <a:cubicBezTo>
                  <a:pt x="0" y="269990"/>
                  <a:pt x="57528" y="235153"/>
                  <a:pt x="131491" y="230611"/>
                </a:cubicBezTo>
                <a:cubicBezTo>
                  <a:pt x="136888" y="230280"/>
                  <a:pt x="142372" y="230109"/>
                  <a:pt x="147927" y="230109"/>
                </a:cubicBezTo>
                <a:cubicBezTo>
                  <a:pt x="153483" y="230109"/>
                  <a:pt x="158967" y="230280"/>
                  <a:pt x="164364" y="230611"/>
                </a:cubicBezTo>
                <a:close/>
                <a:moveTo>
                  <a:pt x="293412" y="524462"/>
                </a:moveTo>
                <a:cubicBezTo>
                  <a:pt x="280760" y="562709"/>
                  <a:pt x="220435" y="591690"/>
                  <a:pt x="147927" y="591690"/>
                </a:cubicBezTo>
                <a:cubicBezTo>
                  <a:pt x="66229" y="591690"/>
                  <a:pt x="0" y="554899"/>
                  <a:pt x="0" y="509508"/>
                </a:cubicBezTo>
                <a:lnTo>
                  <a:pt x="0" y="379805"/>
                </a:lnTo>
                <a:cubicBezTo>
                  <a:pt x="8378" y="387343"/>
                  <a:pt x="17750" y="393796"/>
                  <a:pt x="27363" y="399138"/>
                </a:cubicBezTo>
                <a:cubicBezTo>
                  <a:pt x="59877" y="417201"/>
                  <a:pt x="102567" y="427346"/>
                  <a:pt x="147927" y="427346"/>
                </a:cubicBezTo>
                <a:cubicBezTo>
                  <a:pt x="193288" y="427346"/>
                  <a:pt x="235978" y="417201"/>
                  <a:pt x="268491" y="399138"/>
                </a:cubicBezTo>
                <a:cubicBezTo>
                  <a:pt x="278120" y="393789"/>
                  <a:pt x="287508" y="387320"/>
                  <a:pt x="295897" y="379766"/>
                </a:cubicBezTo>
                <a:cubicBezTo>
                  <a:pt x="295884" y="411866"/>
                  <a:pt x="295865" y="459407"/>
                  <a:pt x="295858" y="491678"/>
                </a:cubicBezTo>
                <a:lnTo>
                  <a:pt x="295858" y="491737"/>
                </a:lnTo>
                <a:cubicBezTo>
                  <a:pt x="295855" y="498407"/>
                  <a:pt x="295855" y="504419"/>
                  <a:pt x="295855" y="509508"/>
                </a:cubicBezTo>
                <a:cubicBezTo>
                  <a:pt x="295855" y="514616"/>
                  <a:pt x="295017" y="519613"/>
                  <a:pt x="293412" y="524462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3600000" scaled="0"/>
          </a:gradFill>
          <a:ln w="3286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1" name="Graphic 63" descr="Dark Theme&#10;Keyword: fluent-icon;&#10;Metaphor: dark mode, light, dark, ui.&#10;&#10;Used to represent dark mode UI.">
            <a:extLst>
              <a:ext uri="{FF2B5EF4-FFF2-40B4-BE49-F238E27FC236}">
                <a16:creationId xmlns:a16="http://schemas.microsoft.com/office/drawing/2014/main" id="{507D3CC0-E017-FE43-BB7C-3C51D5DB8500}"/>
              </a:ext>
            </a:extLst>
          </p:cNvPr>
          <p:cNvSpPr/>
          <p:nvPr/>
        </p:nvSpPr>
        <p:spPr>
          <a:xfrm>
            <a:off x="4417243" y="692174"/>
            <a:ext cx="547879" cy="547879"/>
          </a:xfrm>
          <a:custGeom>
            <a:avLst/>
            <a:gdLst>
              <a:gd name="connsiteX0" fmla="*/ 273940 w 547879"/>
              <a:gd name="connsiteY0" fmla="*/ 547879 h 547879"/>
              <a:gd name="connsiteX1" fmla="*/ 547879 w 547879"/>
              <a:gd name="connsiteY1" fmla="*/ 273940 h 547879"/>
              <a:gd name="connsiteX2" fmla="*/ 273940 w 547879"/>
              <a:gd name="connsiteY2" fmla="*/ 0 h 547879"/>
              <a:gd name="connsiteX3" fmla="*/ 0 w 547879"/>
              <a:gd name="connsiteY3" fmla="*/ 273940 h 547879"/>
              <a:gd name="connsiteX4" fmla="*/ 273940 w 547879"/>
              <a:gd name="connsiteY4" fmla="*/ 547879 h 547879"/>
              <a:gd name="connsiteX5" fmla="*/ 273940 w 547879"/>
              <a:gd name="connsiteY5" fmla="*/ 493091 h 547879"/>
              <a:gd name="connsiteX6" fmla="*/ 273940 w 547879"/>
              <a:gd name="connsiteY6" fmla="*/ 54788 h 547879"/>
              <a:gd name="connsiteX7" fmla="*/ 493091 w 547879"/>
              <a:gd name="connsiteY7" fmla="*/ 273940 h 547879"/>
              <a:gd name="connsiteX8" fmla="*/ 273940 w 547879"/>
              <a:gd name="connsiteY8" fmla="*/ 493091 h 547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47879" h="547879">
                <a:moveTo>
                  <a:pt x="273940" y="547879"/>
                </a:moveTo>
                <a:cubicBezTo>
                  <a:pt x="425231" y="547879"/>
                  <a:pt x="547879" y="425231"/>
                  <a:pt x="547879" y="273940"/>
                </a:cubicBezTo>
                <a:cubicBezTo>
                  <a:pt x="547879" y="122647"/>
                  <a:pt x="425231" y="0"/>
                  <a:pt x="273940" y="0"/>
                </a:cubicBezTo>
                <a:cubicBezTo>
                  <a:pt x="122647" y="0"/>
                  <a:pt x="0" y="122647"/>
                  <a:pt x="0" y="273940"/>
                </a:cubicBezTo>
                <a:cubicBezTo>
                  <a:pt x="0" y="425231"/>
                  <a:pt x="122647" y="547879"/>
                  <a:pt x="273940" y="547879"/>
                </a:cubicBezTo>
                <a:close/>
                <a:moveTo>
                  <a:pt x="273940" y="493091"/>
                </a:moveTo>
                <a:lnTo>
                  <a:pt x="273940" y="54788"/>
                </a:lnTo>
                <a:cubicBezTo>
                  <a:pt x="394974" y="54788"/>
                  <a:pt x="493091" y="152905"/>
                  <a:pt x="493091" y="273940"/>
                </a:cubicBezTo>
                <a:cubicBezTo>
                  <a:pt x="493091" y="394974"/>
                  <a:pt x="394974" y="493091"/>
                  <a:pt x="273940" y="493091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3600000" scaled="0"/>
          </a:gra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2" name="Graphic 67" descr="Eye&#10;Keyword: fluent-icon;&#10;Metaphor: blink, pupil, show, hide;&#10;&#10;Used in show/hide scenarios &amp; represents view only access in files.">
            <a:extLst>
              <a:ext uri="{FF2B5EF4-FFF2-40B4-BE49-F238E27FC236}">
                <a16:creationId xmlns:a16="http://schemas.microsoft.com/office/drawing/2014/main" id="{ABC4B43C-5307-5CD7-8163-D475F369E85F}"/>
              </a:ext>
            </a:extLst>
          </p:cNvPr>
          <p:cNvSpPr/>
          <p:nvPr/>
        </p:nvSpPr>
        <p:spPr>
          <a:xfrm>
            <a:off x="5355952" y="788053"/>
            <a:ext cx="532777" cy="315156"/>
          </a:xfrm>
          <a:custGeom>
            <a:avLst/>
            <a:gdLst>
              <a:gd name="connsiteX0" fmla="*/ 266406 w 532777"/>
              <a:gd name="connsiteY0" fmla="*/ 96005 h 315156"/>
              <a:gd name="connsiteX1" fmla="*/ 375982 w 532777"/>
              <a:gd name="connsiteY1" fmla="*/ 205581 h 315156"/>
              <a:gd name="connsiteX2" fmla="*/ 266406 w 532777"/>
              <a:gd name="connsiteY2" fmla="*/ 315157 h 315156"/>
              <a:gd name="connsiteX3" fmla="*/ 156830 w 532777"/>
              <a:gd name="connsiteY3" fmla="*/ 205581 h 315156"/>
              <a:gd name="connsiteX4" fmla="*/ 266406 w 532777"/>
              <a:gd name="connsiteY4" fmla="*/ 96005 h 315156"/>
              <a:gd name="connsiteX5" fmla="*/ 266406 w 532777"/>
              <a:gd name="connsiteY5" fmla="*/ 0 h 315156"/>
              <a:gd name="connsiteX6" fmla="*/ 532158 w 532777"/>
              <a:gd name="connsiteY6" fmla="*/ 207219 h 315156"/>
              <a:gd name="connsiteX7" fmla="*/ 517217 w 532777"/>
              <a:gd name="connsiteY7" fmla="*/ 232139 h 315156"/>
              <a:gd name="connsiteX8" fmla="*/ 492297 w 532777"/>
              <a:gd name="connsiteY8" fmla="*/ 217196 h 315156"/>
              <a:gd name="connsiteX9" fmla="*/ 266406 w 532777"/>
              <a:gd name="connsiteY9" fmla="*/ 41091 h 315156"/>
              <a:gd name="connsiteX10" fmla="*/ 40484 w 532777"/>
              <a:gd name="connsiteY10" fmla="*/ 217322 h 315156"/>
              <a:gd name="connsiteX11" fmla="*/ 15572 w 532777"/>
              <a:gd name="connsiteY11" fmla="*/ 232276 h 315156"/>
              <a:gd name="connsiteX12" fmla="*/ 617 w 532777"/>
              <a:gd name="connsiteY12" fmla="*/ 207364 h 315156"/>
              <a:gd name="connsiteX13" fmla="*/ 266406 w 532777"/>
              <a:gd name="connsiteY13" fmla="*/ 0 h 3151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32777" h="315156">
                <a:moveTo>
                  <a:pt x="266406" y="96005"/>
                </a:moveTo>
                <a:cubicBezTo>
                  <a:pt x="326922" y="96005"/>
                  <a:pt x="375982" y="145065"/>
                  <a:pt x="375982" y="205581"/>
                </a:cubicBezTo>
                <a:cubicBezTo>
                  <a:pt x="375982" y="266099"/>
                  <a:pt x="326922" y="315157"/>
                  <a:pt x="266406" y="315157"/>
                </a:cubicBezTo>
                <a:cubicBezTo>
                  <a:pt x="205888" y="315157"/>
                  <a:pt x="156830" y="266099"/>
                  <a:pt x="156830" y="205581"/>
                </a:cubicBezTo>
                <a:cubicBezTo>
                  <a:pt x="156830" y="145065"/>
                  <a:pt x="205888" y="96005"/>
                  <a:pt x="266406" y="96005"/>
                </a:cubicBezTo>
                <a:close/>
                <a:moveTo>
                  <a:pt x="266406" y="0"/>
                </a:moveTo>
                <a:cubicBezTo>
                  <a:pt x="392788" y="0"/>
                  <a:pt x="501888" y="86291"/>
                  <a:pt x="532158" y="207219"/>
                </a:cubicBezTo>
                <a:cubicBezTo>
                  <a:pt x="534914" y="218226"/>
                  <a:pt x="528224" y="229383"/>
                  <a:pt x="517217" y="232139"/>
                </a:cubicBezTo>
                <a:cubicBezTo>
                  <a:pt x="506208" y="234892"/>
                  <a:pt x="495053" y="228205"/>
                  <a:pt x="492297" y="217196"/>
                </a:cubicBezTo>
                <a:cubicBezTo>
                  <a:pt x="466577" y="114451"/>
                  <a:pt x="373826" y="41091"/>
                  <a:pt x="266406" y="41091"/>
                </a:cubicBezTo>
                <a:cubicBezTo>
                  <a:pt x="158937" y="41091"/>
                  <a:pt x="66158" y="114514"/>
                  <a:pt x="40484" y="217322"/>
                </a:cubicBezTo>
                <a:cubicBezTo>
                  <a:pt x="37734" y="228329"/>
                  <a:pt x="26581" y="235024"/>
                  <a:pt x="15572" y="232276"/>
                </a:cubicBezTo>
                <a:cubicBezTo>
                  <a:pt x="4563" y="229526"/>
                  <a:pt x="-2132" y="218374"/>
                  <a:pt x="617" y="207364"/>
                </a:cubicBezTo>
                <a:cubicBezTo>
                  <a:pt x="30835" y="86365"/>
                  <a:pt x="139968" y="0"/>
                  <a:pt x="266406" y="0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3600000" scaled="0"/>
          </a:gra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3" name="Graphic 71" descr="Eye Tracking&#10;Keyword: fluent-icon;&#10;Metaphor: blink, pupil, show, hide;&#10;&#10;Used in eye tracking &amp; scanning scenarios.">
            <a:extLst>
              <a:ext uri="{FF2B5EF4-FFF2-40B4-BE49-F238E27FC236}">
                <a16:creationId xmlns:a16="http://schemas.microsoft.com/office/drawing/2014/main" id="{0CE8274A-2F43-277F-3E6E-74232DEBFB09}"/>
              </a:ext>
            </a:extLst>
          </p:cNvPr>
          <p:cNvSpPr/>
          <p:nvPr/>
        </p:nvSpPr>
        <p:spPr>
          <a:xfrm>
            <a:off x="6282545" y="692174"/>
            <a:ext cx="547879" cy="547942"/>
          </a:xfrm>
          <a:custGeom>
            <a:avLst/>
            <a:gdLst>
              <a:gd name="connsiteX0" fmla="*/ 40904 w 547879"/>
              <a:gd name="connsiteY0" fmla="*/ 373878 h 547942"/>
              <a:gd name="connsiteX1" fmla="*/ 20545 w 547879"/>
              <a:gd name="connsiteY1" fmla="*/ 356121 h 547942"/>
              <a:gd name="connsiteX2" fmla="*/ 188 w 547879"/>
              <a:gd name="connsiteY2" fmla="*/ 373878 h 547942"/>
              <a:gd name="connsiteX3" fmla="*/ 0 w 547879"/>
              <a:gd name="connsiteY3" fmla="*/ 376667 h 547942"/>
              <a:gd name="connsiteX4" fmla="*/ 0 w 547879"/>
              <a:gd name="connsiteY4" fmla="*/ 472609 h 547942"/>
              <a:gd name="connsiteX5" fmla="*/ 149 w 547879"/>
              <a:gd name="connsiteY5" fmla="*/ 477381 h 547942"/>
              <a:gd name="connsiteX6" fmla="*/ 70744 w 547879"/>
              <a:gd name="connsiteY6" fmla="*/ 547805 h 547942"/>
              <a:gd name="connsiteX7" fmla="*/ 75333 w 547879"/>
              <a:gd name="connsiteY7" fmla="*/ 547942 h 547942"/>
              <a:gd name="connsiteX8" fmla="*/ 171212 w 547879"/>
              <a:gd name="connsiteY8" fmla="*/ 547942 h 547942"/>
              <a:gd name="connsiteX9" fmla="*/ 174000 w 547879"/>
              <a:gd name="connsiteY9" fmla="*/ 547756 h 547942"/>
              <a:gd name="connsiteX10" fmla="*/ 191758 w 547879"/>
              <a:gd name="connsiteY10" fmla="*/ 527397 h 547942"/>
              <a:gd name="connsiteX11" fmla="*/ 174000 w 547879"/>
              <a:gd name="connsiteY11" fmla="*/ 507040 h 547942"/>
              <a:gd name="connsiteX12" fmla="*/ 171212 w 547879"/>
              <a:gd name="connsiteY12" fmla="*/ 506851 h 547942"/>
              <a:gd name="connsiteX13" fmla="*/ 75333 w 547879"/>
              <a:gd name="connsiteY13" fmla="*/ 506851 h 547942"/>
              <a:gd name="connsiteX14" fmla="*/ 71832 w 547879"/>
              <a:gd name="connsiteY14" fmla="*/ 506676 h 547942"/>
              <a:gd name="connsiteX15" fmla="*/ 41268 w 547879"/>
              <a:gd name="connsiteY15" fmla="*/ 476110 h 547942"/>
              <a:gd name="connsiteX16" fmla="*/ 41091 w 547879"/>
              <a:gd name="connsiteY16" fmla="*/ 472609 h 547942"/>
              <a:gd name="connsiteX17" fmla="*/ 41091 w 547879"/>
              <a:gd name="connsiteY17" fmla="*/ 376667 h 547942"/>
              <a:gd name="connsiteX18" fmla="*/ 40904 w 547879"/>
              <a:gd name="connsiteY18" fmla="*/ 373878 h 547942"/>
              <a:gd name="connsiteX19" fmla="*/ 547690 w 547879"/>
              <a:gd name="connsiteY19" fmla="*/ 373878 h 547942"/>
              <a:gd name="connsiteX20" fmla="*/ 527334 w 547879"/>
              <a:gd name="connsiteY20" fmla="*/ 356121 h 547942"/>
              <a:gd name="connsiteX21" fmla="*/ 506789 w 547879"/>
              <a:gd name="connsiteY21" fmla="*/ 376667 h 547942"/>
              <a:gd name="connsiteX22" fmla="*/ 506789 w 547879"/>
              <a:gd name="connsiteY22" fmla="*/ 472609 h 547942"/>
              <a:gd name="connsiteX23" fmla="*/ 506610 w 547879"/>
              <a:gd name="connsiteY23" fmla="*/ 476110 h 547942"/>
              <a:gd name="connsiteX24" fmla="*/ 472546 w 547879"/>
              <a:gd name="connsiteY24" fmla="*/ 506851 h 547942"/>
              <a:gd name="connsiteX25" fmla="*/ 376667 w 547879"/>
              <a:gd name="connsiteY25" fmla="*/ 506851 h 547942"/>
              <a:gd name="connsiteX26" fmla="*/ 373879 w 547879"/>
              <a:gd name="connsiteY26" fmla="*/ 507040 h 547942"/>
              <a:gd name="connsiteX27" fmla="*/ 356122 w 547879"/>
              <a:gd name="connsiteY27" fmla="*/ 527397 h 547942"/>
              <a:gd name="connsiteX28" fmla="*/ 376667 w 547879"/>
              <a:gd name="connsiteY28" fmla="*/ 547942 h 547942"/>
              <a:gd name="connsiteX29" fmla="*/ 472546 w 547879"/>
              <a:gd name="connsiteY29" fmla="*/ 547942 h 547942"/>
              <a:gd name="connsiteX30" fmla="*/ 477135 w 547879"/>
              <a:gd name="connsiteY30" fmla="*/ 547805 h 547942"/>
              <a:gd name="connsiteX31" fmla="*/ 547879 w 547879"/>
              <a:gd name="connsiteY31" fmla="*/ 472609 h 547942"/>
              <a:gd name="connsiteX32" fmla="*/ 547879 w 547879"/>
              <a:gd name="connsiteY32" fmla="*/ 376667 h 547942"/>
              <a:gd name="connsiteX33" fmla="*/ 547690 w 547879"/>
              <a:gd name="connsiteY33" fmla="*/ 373878 h 547942"/>
              <a:gd name="connsiteX34" fmla="*/ 191758 w 547879"/>
              <a:gd name="connsiteY34" fmla="*/ 20545 h 547942"/>
              <a:gd name="connsiteX35" fmla="*/ 171212 w 547879"/>
              <a:gd name="connsiteY35" fmla="*/ 0 h 547942"/>
              <a:gd name="connsiteX36" fmla="*/ 75333 w 547879"/>
              <a:gd name="connsiteY36" fmla="*/ 0 h 547942"/>
              <a:gd name="connsiteX37" fmla="*/ 70744 w 547879"/>
              <a:gd name="connsiteY37" fmla="*/ 138 h 547942"/>
              <a:gd name="connsiteX38" fmla="*/ 0 w 547879"/>
              <a:gd name="connsiteY38" fmla="*/ 75333 h 547942"/>
              <a:gd name="connsiteX39" fmla="*/ 0 w 547879"/>
              <a:gd name="connsiteY39" fmla="*/ 171276 h 547942"/>
              <a:gd name="connsiteX40" fmla="*/ 188 w 547879"/>
              <a:gd name="connsiteY40" fmla="*/ 174064 h 547942"/>
              <a:gd name="connsiteX41" fmla="*/ 20545 w 547879"/>
              <a:gd name="connsiteY41" fmla="*/ 191822 h 547942"/>
              <a:gd name="connsiteX42" fmla="*/ 41091 w 547879"/>
              <a:gd name="connsiteY42" fmla="*/ 171276 h 547942"/>
              <a:gd name="connsiteX43" fmla="*/ 41091 w 547879"/>
              <a:gd name="connsiteY43" fmla="*/ 75333 h 547942"/>
              <a:gd name="connsiteX44" fmla="*/ 41268 w 547879"/>
              <a:gd name="connsiteY44" fmla="*/ 71832 h 547942"/>
              <a:gd name="connsiteX45" fmla="*/ 75333 w 547879"/>
              <a:gd name="connsiteY45" fmla="*/ 41091 h 547942"/>
              <a:gd name="connsiteX46" fmla="*/ 171212 w 547879"/>
              <a:gd name="connsiteY46" fmla="*/ 41091 h 547942"/>
              <a:gd name="connsiteX47" fmla="*/ 174000 w 547879"/>
              <a:gd name="connsiteY47" fmla="*/ 40903 h 547942"/>
              <a:gd name="connsiteX48" fmla="*/ 191758 w 547879"/>
              <a:gd name="connsiteY48" fmla="*/ 20545 h 547942"/>
              <a:gd name="connsiteX49" fmla="*/ 477135 w 547879"/>
              <a:gd name="connsiteY49" fmla="*/ 138 h 547942"/>
              <a:gd name="connsiteX50" fmla="*/ 472546 w 547879"/>
              <a:gd name="connsiteY50" fmla="*/ 0 h 547942"/>
              <a:gd name="connsiteX51" fmla="*/ 376667 w 547879"/>
              <a:gd name="connsiteY51" fmla="*/ 0 h 547942"/>
              <a:gd name="connsiteX52" fmla="*/ 373879 w 547879"/>
              <a:gd name="connsiteY52" fmla="*/ 188 h 547942"/>
              <a:gd name="connsiteX53" fmla="*/ 356122 w 547879"/>
              <a:gd name="connsiteY53" fmla="*/ 20545 h 547942"/>
              <a:gd name="connsiteX54" fmla="*/ 373879 w 547879"/>
              <a:gd name="connsiteY54" fmla="*/ 40903 h 547942"/>
              <a:gd name="connsiteX55" fmla="*/ 376667 w 547879"/>
              <a:gd name="connsiteY55" fmla="*/ 41091 h 547942"/>
              <a:gd name="connsiteX56" fmla="*/ 472546 w 547879"/>
              <a:gd name="connsiteY56" fmla="*/ 41091 h 547942"/>
              <a:gd name="connsiteX57" fmla="*/ 476047 w 547879"/>
              <a:gd name="connsiteY57" fmla="*/ 41268 h 547942"/>
              <a:gd name="connsiteX58" fmla="*/ 506610 w 547879"/>
              <a:gd name="connsiteY58" fmla="*/ 71832 h 547942"/>
              <a:gd name="connsiteX59" fmla="*/ 506789 w 547879"/>
              <a:gd name="connsiteY59" fmla="*/ 75333 h 547942"/>
              <a:gd name="connsiteX60" fmla="*/ 506789 w 547879"/>
              <a:gd name="connsiteY60" fmla="*/ 171276 h 547942"/>
              <a:gd name="connsiteX61" fmla="*/ 506975 w 547879"/>
              <a:gd name="connsiteY61" fmla="*/ 174064 h 547942"/>
              <a:gd name="connsiteX62" fmla="*/ 527334 w 547879"/>
              <a:gd name="connsiteY62" fmla="*/ 191822 h 547942"/>
              <a:gd name="connsiteX63" fmla="*/ 547690 w 547879"/>
              <a:gd name="connsiteY63" fmla="*/ 174064 h 547942"/>
              <a:gd name="connsiteX64" fmla="*/ 547879 w 547879"/>
              <a:gd name="connsiteY64" fmla="*/ 171276 h 547942"/>
              <a:gd name="connsiteX65" fmla="*/ 547879 w 547879"/>
              <a:gd name="connsiteY65" fmla="*/ 75333 h 547942"/>
              <a:gd name="connsiteX66" fmla="*/ 547732 w 547879"/>
              <a:gd name="connsiteY66" fmla="*/ 70562 h 547942"/>
              <a:gd name="connsiteX67" fmla="*/ 477135 w 547879"/>
              <a:gd name="connsiteY67" fmla="*/ 138 h 547942"/>
              <a:gd name="connsiteX68" fmla="*/ 178141 w 547879"/>
              <a:gd name="connsiteY68" fmla="*/ 315031 h 547942"/>
              <a:gd name="connsiteX69" fmla="*/ 274019 w 547879"/>
              <a:gd name="connsiteY69" fmla="*/ 219152 h 547942"/>
              <a:gd name="connsiteX70" fmla="*/ 369898 w 547879"/>
              <a:gd name="connsiteY70" fmla="*/ 315031 h 547942"/>
              <a:gd name="connsiteX71" fmla="*/ 274019 w 547879"/>
              <a:gd name="connsiteY71" fmla="*/ 410909 h 547942"/>
              <a:gd name="connsiteX72" fmla="*/ 178141 w 547879"/>
              <a:gd name="connsiteY72" fmla="*/ 315031 h 547942"/>
              <a:gd name="connsiteX73" fmla="*/ 115420 w 547879"/>
              <a:gd name="connsiteY73" fmla="*/ 266913 h 547942"/>
              <a:gd name="connsiteX74" fmla="*/ 115190 w 547879"/>
              <a:gd name="connsiteY74" fmla="*/ 267475 h 547942"/>
              <a:gd name="connsiteX75" fmla="*/ 115168 w 547879"/>
              <a:gd name="connsiteY75" fmla="*/ 267535 h 547942"/>
              <a:gd name="connsiteX76" fmla="*/ 88746 w 547879"/>
              <a:gd name="connsiteY76" fmla="*/ 279479 h 547942"/>
              <a:gd name="connsiteX77" fmla="*/ 76816 w 547879"/>
              <a:gd name="connsiteY77" fmla="*/ 252783 h 547942"/>
              <a:gd name="connsiteX78" fmla="*/ 76974 w 547879"/>
              <a:gd name="connsiteY78" fmla="*/ 252378 h 547942"/>
              <a:gd name="connsiteX79" fmla="*/ 77490 w 547879"/>
              <a:gd name="connsiteY79" fmla="*/ 251109 h 547942"/>
              <a:gd name="connsiteX80" fmla="*/ 79358 w 547879"/>
              <a:gd name="connsiteY80" fmla="*/ 246883 h 547942"/>
              <a:gd name="connsiteX81" fmla="*/ 86774 w 547879"/>
              <a:gd name="connsiteY81" fmla="*/ 232769 h 547942"/>
              <a:gd name="connsiteX82" fmla="*/ 119099 w 547879"/>
              <a:gd name="connsiteY82" fmla="*/ 190927 h 547942"/>
              <a:gd name="connsiteX83" fmla="*/ 274019 w 547879"/>
              <a:gd name="connsiteY83" fmla="*/ 130121 h 547942"/>
              <a:gd name="connsiteX84" fmla="*/ 428943 w 547879"/>
              <a:gd name="connsiteY84" fmla="*/ 190927 h 547942"/>
              <a:gd name="connsiteX85" fmla="*/ 461268 w 547879"/>
              <a:gd name="connsiteY85" fmla="*/ 232769 h 547942"/>
              <a:gd name="connsiteX86" fmla="*/ 468684 w 547879"/>
              <a:gd name="connsiteY86" fmla="*/ 246883 h 547942"/>
              <a:gd name="connsiteX87" fmla="*/ 470552 w 547879"/>
              <a:gd name="connsiteY87" fmla="*/ 251109 h 547942"/>
              <a:gd name="connsiteX88" fmla="*/ 471067 w 547879"/>
              <a:gd name="connsiteY88" fmla="*/ 252378 h 547942"/>
              <a:gd name="connsiteX89" fmla="*/ 471226 w 547879"/>
              <a:gd name="connsiteY89" fmla="*/ 252783 h 547942"/>
              <a:gd name="connsiteX90" fmla="*/ 471280 w 547879"/>
              <a:gd name="connsiteY90" fmla="*/ 252926 h 547942"/>
              <a:gd name="connsiteX91" fmla="*/ 471302 w 547879"/>
              <a:gd name="connsiteY91" fmla="*/ 252983 h 547942"/>
              <a:gd name="connsiteX92" fmla="*/ 471319 w 547879"/>
              <a:gd name="connsiteY92" fmla="*/ 253030 h 547942"/>
              <a:gd name="connsiteX93" fmla="*/ 459296 w 547879"/>
              <a:gd name="connsiteY93" fmla="*/ 279479 h 547942"/>
              <a:gd name="connsiteX94" fmla="*/ 432852 w 547879"/>
              <a:gd name="connsiteY94" fmla="*/ 267480 h 547942"/>
              <a:gd name="connsiteX95" fmla="*/ 432622 w 547879"/>
              <a:gd name="connsiteY95" fmla="*/ 266913 h 547942"/>
              <a:gd name="connsiteX96" fmla="*/ 431414 w 547879"/>
              <a:gd name="connsiteY96" fmla="*/ 264187 h 547942"/>
              <a:gd name="connsiteX97" fmla="*/ 425774 w 547879"/>
              <a:gd name="connsiteY97" fmla="*/ 253474 h 547942"/>
              <a:gd name="connsiteX98" fmla="*/ 399886 w 547879"/>
              <a:gd name="connsiteY98" fmla="*/ 219982 h 547942"/>
              <a:gd name="connsiteX99" fmla="*/ 274019 w 547879"/>
              <a:gd name="connsiteY99" fmla="*/ 171212 h 547942"/>
              <a:gd name="connsiteX100" fmla="*/ 148154 w 547879"/>
              <a:gd name="connsiteY100" fmla="*/ 219982 h 547942"/>
              <a:gd name="connsiteX101" fmla="*/ 122267 w 547879"/>
              <a:gd name="connsiteY101" fmla="*/ 253474 h 547942"/>
              <a:gd name="connsiteX102" fmla="*/ 116628 w 547879"/>
              <a:gd name="connsiteY102" fmla="*/ 264187 h 547942"/>
              <a:gd name="connsiteX103" fmla="*/ 115420 w 547879"/>
              <a:gd name="connsiteY103" fmla="*/ 266913 h 5479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</a:cxnLst>
            <a:rect l="l" t="t" r="r" b="b"/>
            <a:pathLst>
              <a:path w="547879" h="547942">
                <a:moveTo>
                  <a:pt x="40904" y="373878"/>
                </a:moveTo>
                <a:cubicBezTo>
                  <a:pt x="39543" y="363852"/>
                  <a:pt x="30947" y="356121"/>
                  <a:pt x="20545" y="356121"/>
                </a:cubicBezTo>
                <a:cubicBezTo>
                  <a:pt x="10144" y="356121"/>
                  <a:pt x="1548" y="363852"/>
                  <a:pt x="188" y="373878"/>
                </a:cubicBezTo>
                <a:lnTo>
                  <a:pt x="0" y="376667"/>
                </a:lnTo>
                <a:lnTo>
                  <a:pt x="0" y="472609"/>
                </a:lnTo>
                <a:lnTo>
                  <a:pt x="149" y="477381"/>
                </a:lnTo>
                <a:cubicBezTo>
                  <a:pt x="2515" y="515247"/>
                  <a:pt x="32855" y="545529"/>
                  <a:pt x="70744" y="547805"/>
                </a:cubicBezTo>
                <a:lnTo>
                  <a:pt x="75333" y="547942"/>
                </a:lnTo>
                <a:lnTo>
                  <a:pt x="171212" y="547942"/>
                </a:lnTo>
                <a:lnTo>
                  <a:pt x="174000" y="547756"/>
                </a:lnTo>
                <a:cubicBezTo>
                  <a:pt x="184029" y="546394"/>
                  <a:pt x="191758" y="537798"/>
                  <a:pt x="191758" y="527397"/>
                </a:cubicBezTo>
                <a:cubicBezTo>
                  <a:pt x="191758" y="516995"/>
                  <a:pt x="184029" y="508399"/>
                  <a:pt x="174000" y="507040"/>
                </a:cubicBezTo>
                <a:lnTo>
                  <a:pt x="171212" y="506851"/>
                </a:lnTo>
                <a:lnTo>
                  <a:pt x="75333" y="506851"/>
                </a:lnTo>
                <a:lnTo>
                  <a:pt x="71832" y="506676"/>
                </a:lnTo>
                <a:cubicBezTo>
                  <a:pt x="55717" y="505038"/>
                  <a:pt x="42904" y="492226"/>
                  <a:pt x="41268" y="476110"/>
                </a:cubicBezTo>
                <a:lnTo>
                  <a:pt x="41091" y="472609"/>
                </a:lnTo>
                <a:lnTo>
                  <a:pt x="41091" y="376667"/>
                </a:lnTo>
                <a:lnTo>
                  <a:pt x="40904" y="373878"/>
                </a:lnTo>
                <a:close/>
                <a:moveTo>
                  <a:pt x="547690" y="373878"/>
                </a:moveTo>
                <a:cubicBezTo>
                  <a:pt x="546332" y="363852"/>
                  <a:pt x="537735" y="356121"/>
                  <a:pt x="527334" y="356121"/>
                </a:cubicBezTo>
                <a:cubicBezTo>
                  <a:pt x="515987" y="356121"/>
                  <a:pt x="506789" y="365320"/>
                  <a:pt x="506789" y="376667"/>
                </a:cubicBezTo>
                <a:lnTo>
                  <a:pt x="506789" y="472609"/>
                </a:lnTo>
                <a:lnTo>
                  <a:pt x="506610" y="476110"/>
                </a:lnTo>
                <a:cubicBezTo>
                  <a:pt x="504857" y="493379"/>
                  <a:pt x="490275" y="506851"/>
                  <a:pt x="472546" y="506851"/>
                </a:cubicBezTo>
                <a:lnTo>
                  <a:pt x="376667" y="506851"/>
                </a:lnTo>
                <a:lnTo>
                  <a:pt x="373879" y="507040"/>
                </a:lnTo>
                <a:cubicBezTo>
                  <a:pt x="363850" y="508399"/>
                  <a:pt x="356122" y="516995"/>
                  <a:pt x="356122" y="527397"/>
                </a:cubicBezTo>
                <a:cubicBezTo>
                  <a:pt x="356122" y="538743"/>
                  <a:pt x="365321" y="547942"/>
                  <a:pt x="376667" y="547942"/>
                </a:cubicBezTo>
                <a:lnTo>
                  <a:pt x="472546" y="547942"/>
                </a:lnTo>
                <a:lnTo>
                  <a:pt x="477135" y="547805"/>
                </a:lnTo>
                <a:cubicBezTo>
                  <a:pt x="516604" y="545433"/>
                  <a:pt x="547879" y="512675"/>
                  <a:pt x="547879" y="472609"/>
                </a:cubicBezTo>
                <a:lnTo>
                  <a:pt x="547879" y="376667"/>
                </a:lnTo>
                <a:lnTo>
                  <a:pt x="547690" y="373878"/>
                </a:lnTo>
                <a:close/>
                <a:moveTo>
                  <a:pt x="191758" y="20545"/>
                </a:moveTo>
                <a:cubicBezTo>
                  <a:pt x="191758" y="9199"/>
                  <a:pt x="182559" y="0"/>
                  <a:pt x="171212" y="0"/>
                </a:cubicBezTo>
                <a:lnTo>
                  <a:pt x="75333" y="0"/>
                </a:lnTo>
                <a:lnTo>
                  <a:pt x="70744" y="138"/>
                </a:lnTo>
                <a:cubicBezTo>
                  <a:pt x="31276" y="2509"/>
                  <a:pt x="0" y="35269"/>
                  <a:pt x="0" y="75333"/>
                </a:cubicBezTo>
                <a:lnTo>
                  <a:pt x="0" y="171276"/>
                </a:lnTo>
                <a:lnTo>
                  <a:pt x="188" y="174064"/>
                </a:lnTo>
                <a:cubicBezTo>
                  <a:pt x="1548" y="184092"/>
                  <a:pt x="10144" y="191822"/>
                  <a:pt x="20545" y="191822"/>
                </a:cubicBezTo>
                <a:cubicBezTo>
                  <a:pt x="31893" y="191822"/>
                  <a:pt x="41091" y="182623"/>
                  <a:pt x="41091" y="171276"/>
                </a:cubicBezTo>
                <a:lnTo>
                  <a:pt x="41091" y="75333"/>
                </a:lnTo>
                <a:lnTo>
                  <a:pt x="41268" y="71832"/>
                </a:lnTo>
                <a:cubicBezTo>
                  <a:pt x="43021" y="54565"/>
                  <a:pt x="57604" y="41091"/>
                  <a:pt x="75333" y="41091"/>
                </a:cubicBezTo>
                <a:lnTo>
                  <a:pt x="171212" y="41091"/>
                </a:lnTo>
                <a:lnTo>
                  <a:pt x="174000" y="40903"/>
                </a:lnTo>
                <a:cubicBezTo>
                  <a:pt x="184029" y="39543"/>
                  <a:pt x="191758" y="30947"/>
                  <a:pt x="191758" y="20545"/>
                </a:cubicBezTo>
                <a:close/>
                <a:moveTo>
                  <a:pt x="477135" y="138"/>
                </a:moveTo>
                <a:lnTo>
                  <a:pt x="472546" y="0"/>
                </a:lnTo>
                <a:lnTo>
                  <a:pt x="376667" y="0"/>
                </a:lnTo>
                <a:lnTo>
                  <a:pt x="373879" y="188"/>
                </a:lnTo>
                <a:cubicBezTo>
                  <a:pt x="363850" y="1548"/>
                  <a:pt x="356122" y="10144"/>
                  <a:pt x="356122" y="20545"/>
                </a:cubicBezTo>
                <a:cubicBezTo>
                  <a:pt x="356122" y="30947"/>
                  <a:pt x="363850" y="39543"/>
                  <a:pt x="373879" y="40903"/>
                </a:cubicBezTo>
                <a:lnTo>
                  <a:pt x="376667" y="41091"/>
                </a:lnTo>
                <a:lnTo>
                  <a:pt x="472546" y="41091"/>
                </a:lnTo>
                <a:lnTo>
                  <a:pt x="476047" y="41268"/>
                </a:lnTo>
                <a:cubicBezTo>
                  <a:pt x="492163" y="42904"/>
                  <a:pt x="504975" y="55717"/>
                  <a:pt x="506610" y="71832"/>
                </a:cubicBezTo>
                <a:lnTo>
                  <a:pt x="506789" y="75333"/>
                </a:lnTo>
                <a:lnTo>
                  <a:pt x="506789" y="171276"/>
                </a:lnTo>
                <a:lnTo>
                  <a:pt x="506975" y="174064"/>
                </a:lnTo>
                <a:cubicBezTo>
                  <a:pt x="508336" y="184092"/>
                  <a:pt x="516932" y="191822"/>
                  <a:pt x="527334" y="191822"/>
                </a:cubicBezTo>
                <a:cubicBezTo>
                  <a:pt x="537735" y="191822"/>
                  <a:pt x="546332" y="184092"/>
                  <a:pt x="547690" y="174064"/>
                </a:cubicBezTo>
                <a:lnTo>
                  <a:pt x="547879" y="171276"/>
                </a:lnTo>
                <a:lnTo>
                  <a:pt x="547879" y="75333"/>
                </a:lnTo>
                <a:lnTo>
                  <a:pt x="547732" y="70562"/>
                </a:lnTo>
                <a:cubicBezTo>
                  <a:pt x="545365" y="32697"/>
                  <a:pt x="515026" y="2414"/>
                  <a:pt x="477135" y="138"/>
                </a:cubicBezTo>
                <a:close/>
                <a:moveTo>
                  <a:pt x="178141" y="315031"/>
                </a:moveTo>
                <a:cubicBezTo>
                  <a:pt x="178141" y="262078"/>
                  <a:pt x="221067" y="219152"/>
                  <a:pt x="274019" y="219152"/>
                </a:cubicBezTo>
                <a:cubicBezTo>
                  <a:pt x="326972" y="219152"/>
                  <a:pt x="369898" y="262078"/>
                  <a:pt x="369898" y="315031"/>
                </a:cubicBezTo>
                <a:cubicBezTo>
                  <a:pt x="369898" y="367983"/>
                  <a:pt x="326972" y="410909"/>
                  <a:pt x="274019" y="410909"/>
                </a:cubicBezTo>
                <a:cubicBezTo>
                  <a:pt x="221067" y="410909"/>
                  <a:pt x="178141" y="367983"/>
                  <a:pt x="178141" y="315031"/>
                </a:cubicBezTo>
                <a:close/>
                <a:moveTo>
                  <a:pt x="115420" y="266913"/>
                </a:moveTo>
                <a:lnTo>
                  <a:pt x="115190" y="267475"/>
                </a:lnTo>
                <a:lnTo>
                  <a:pt x="115168" y="267535"/>
                </a:lnTo>
                <a:cubicBezTo>
                  <a:pt x="111155" y="278106"/>
                  <a:pt x="99344" y="283454"/>
                  <a:pt x="88746" y="279479"/>
                </a:cubicBezTo>
                <a:cubicBezTo>
                  <a:pt x="72385" y="273345"/>
                  <a:pt x="76758" y="252937"/>
                  <a:pt x="76816" y="252783"/>
                </a:cubicBezTo>
                <a:lnTo>
                  <a:pt x="76974" y="252378"/>
                </a:lnTo>
                <a:cubicBezTo>
                  <a:pt x="77101" y="252055"/>
                  <a:pt x="77272" y="251630"/>
                  <a:pt x="77490" y="251109"/>
                </a:cubicBezTo>
                <a:cubicBezTo>
                  <a:pt x="77923" y="250068"/>
                  <a:pt x="78541" y="248641"/>
                  <a:pt x="79358" y="246883"/>
                </a:cubicBezTo>
                <a:cubicBezTo>
                  <a:pt x="80989" y="243368"/>
                  <a:pt x="83422" y="238514"/>
                  <a:pt x="86774" y="232769"/>
                </a:cubicBezTo>
                <a:cubicBezTo>
                  <a:pt x="93462" y="221305"/>
                  <a:pt x="103908" y="206117"/>
                  <a:pt x="119099" y="190927"/>
                </a:cubicBezTo>
                <a:cubicBezTo>
                  <a:pt x="149794" y="160231"/>
                  <a:pt x="199353" y="130121"/>
                  <a:pt x="274019" y="130121"/>
                </a:cubicBezTo>
                <a:cubicBezTo>
                  <a:pt x="348687" y="130121"/>
                  <a:pt x="398248" y="160231"/>
                  <a:pt x="428943" y="190927"/>
                </a:cubicBezTo>
                <a:cubicBezTo>
                  <a:pt x="444133" y="206117"/>
                  <a:pt x="454578" y="221305"/>
                  <a:pt x="461268" y="232769"/>
                </a:cubicBezTo>
                <a:cubicBezTo>
                  <a:pt x="464618" y="238514"/>
                  <a:pt x="467051" y="243368"/>
                  <a:pt x="468684" y="246883"/>
                </a:cubicBezTo>
                <a:cubicBezTo>
                  <a:pt x="469500" y="248641"/>
                  <a:pt x="470116" y="250068"/>
                  <a:pt x="470552" y="251109"/>
                </a:cubicBezTo>
                <a:cubicBezTo>
                  <a:pt x="470768" y="251630"/>
                  <a:pt x="470941" y="252055"/>
                  <a:pt x="471067" y="252378"/>
                </a:cubicBezTo>
                <a:lnTo>
                  <a:pt x="471226" y="252783"/>
                </a:lnTo>
                <a:lnTo>
                  <a:pt x="471280" y="252926"/>
                </a:lnTo>
                <a:lnTo>
                  <a:pt x="471302" y="252983"/>
                </a:lnTo>
                <a:lnTo>
                  <a:pt x="471319" y="253030"/>
                </a:lnTo>
                <a:cubicBezTo>
                  <a:pt x="475302" y="263653"/>
                  <a:pt x="469919" y="275496"/>
                  <a:pt x="459296" y="279479"/>
                </a:cubicBezTo>
                <a:cubicBezTo>
                  <a:pt x="448708" y="283451"/>
                  <a:pt x="436939" y="277893"/>
                  <a:pt x="432852" y="267480"/>
                </a:cubicBezTo>
                <a:lnTo>
                  <a:pt x="432622" y="266913"/>
                </a:lnTo>
                <a:cubicBezTo>
                  <a:pt x="432622" y="266913"/>
                  <a:pt x="431987" y="265423"/>
                  <a:pt x="431414" y="264187"/>
                </a:cubicBezTo>
                <a:cubicBezTo>
                  <a:pt x="430264" y="261708"/>
                  <a:pt x="428414" y="258002"/>
                  <a:pt x="425774" y="253474"/>
                </a:cubicBezTo>
                <a:cubicBezTo>
                  <a:pt x="420476" y="244392"/>
                  <a:pt x="412090" y="232186"/>
                  <a:pt x="399886" y="219982"/>
                </a:cubicBezTo>
                <a:cubicBezTo>
                  <a:pt x="375793" y="195890"/>
                  <a:pt x="336324" y="171212"/>
                  <a:pt x="274019" y="171212"/>
                </a:cubicBezTo>
                <a:cubicBezTo>
                  <a:pt x="211718" y="171212"/>
                  <a:pt x="172247" y="195890"/>
                  <a:pt x="148154" y="219982"/>
                </a:cubicBezTo>
                <a:cubicBezTo>
                  <a:pt x="135950" y="232186"/>
                  <a:pt x="127564" y="244392"/>
                  <a:pt x="122267" y="253474"/>
                </a:cubicBezTo>
                <a:cubicBezTo>
                  <a:pt x="119626" y="258002"/>
                  <a:pt x="117778" y="261708"/>
                  <a:pt x="116628" y="264187"/>
                </a:cubicBezTo>
                <a:cubicBezTo>
                  <a:pt x="116053" y="265423"/>
                  <a:pt x="115655" y="266351"/>
                  <a:pt x="115420" y="266913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3600000" scaled="0"/>
          </a:gra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4" name="Graphic 75" descr="Document CSS&#10;Keyword: fluent-icon;&#10;Metaphor: paper, work, file, analog, cascading style sheets, code, vertical;&#10;&#10;Used to represent CSS file types and actions.">
            <a:extLst>
              <a:ext uri="{FF2B5EF4-FFF2-40B4-BE49-F238E27FC236}">
                <a16:creationId xmlns:a16="http://schemas.microsoft.com/office/drawing/2014/main" id="{902B31D5-9B88-86CF-839F-46240F8F77CB}"/>
              </a:ext>
            </a:extLst>
          </p:cNvPr>
          <p:cNvSpPr/>
          <p:nvPr/>
        </p:nvSpPr>
        <p:spPr>
          <a:xfrm>
            <a:off x="7197967" y="692174"/>
            <a:ext cx="520485" cy="547879"/>
          </a:xfrm>
          <a:custGeom>
            <a:avLst/>
            <a:gdLst>
              <a:gd name="connsiteX0" fmla="*/ 465697 w 520485"/>
              <a:gd name="connsiteY0" fmla="*/ 506788 h 547879"/>
              <a:gd name="connsiteX1" fmla="*/ 479394 w 520485"/>
              <a:gd name="connsiteY1" fmla="*/ 493091 h 547879"/>
              <a:gd name="connsiteX2" fmla="*/ 479394 w 520485"/>
              <a:gd name="connsiteY2" fmla="*/ 219152 h 547879"/>
              <a:gd name="connsiteX3" fmla="*/ 356121 w 520485"/>
              <a:gd name="connsiteY3" fmla="*/ 219152 h 547879"/>
              <a:gd name="connsiteX4" fmla="*/ 301334 w 520485"/>
              <a:gd name="connsiteY4" fmla="*/ 164364 h 547879"/>
              <a:gd name="connsiteX5" fmla="*/ 301334 w 520485"/>
              <a:gd name="connsiteY5" fmla="*/ 41091 h 547879"/>
              <a:gd name="connsiteX6" fmla="*/ 136970 w 520485"/>
              <a:gd name="connsiteY6" fmla="*/ 41091 h 547879"/>
              <a:gd name="connsiteX7" fmla="*/ 123273 w 520485"/>
              <a:gd name="connsiteY7" fmla="*/ 54788 h 547879"/>
              <a:gd name="connsiteX8" fmla="*/ 123273 w 520485"/>
              <a:gd name="connsiteY8" fmla="*/ 345912 h 547879"/>
              <a:gd name="connsiteX9" fmla="*/ 82182 w 520485"/>
              <a:gd name="connsiteY9" fmla="*/ 329697 h 547879"/>
              <a:gd name="connsiteX10" fmla="*/ 82182 w 520485"/>
              <a:gd name="connsiteY10" fmla="*/ 54788 h 547879"/>
              <a:gd name="connsiteX11" fmla="*/ 136970 w 520485"/>
              <a:gd name="connsiteY11" fmla="*/ 0 h 547879"/>
              <a:gd name="connsiteX12" fmla="*/ 306045 w 520485"/>
              <a:gd name="connsiteY12" fmla="*/ 0 h 547879"/>
              <a:gd name="connsiteX13" fmla="*/ 308297 w 520485"/>
              <a:gd name="connsiteY13" fmla="*/ 203 h 547879"/>
              <a:gd name="connsiteX14" fmla="*/ 309908 w 520485"/>
              <a:gd name="connsiteY14" fmla="*/ 384 h 547879"/>
              <a:gd name="connsiteX15" fmla="*/ 327002 w 520485"/>
              <a:gd name="connsiteY15" fmla="*/ 4164 h 547879"/>
              <a:gd name="connsiteX16" fmla="*/ 331549 w 520485"/>
              <a:gd name="connsiteY16" fmla="*/ 6556 h 547879"/>
              <a:gd name="connsiteX17" fmla="*/ 332919 w 520485"/>
              <a:gd name="connsiteY17" fmla="*/ 7342 h 547879"/>
              <a:gd name="connsiteX18" fmla="*/ 334220 w 520485"/>
              <a:gd name="connsiteY18" fmla="*/ 8001 h 547879"/>
              <a:gd name="connsiteX19" fmla="*/ 336425 w 520485"/>
              <a:gd name="connsiteY19" fmla="*/ 9204 h 547879"/>
              <a:gd name="connsiteX20" fmla="*/ 342424 w 520485"/>
              <a:gd name="connsiteY20" fmla="*/ 14135 h 547879"/>
              <a:gd name="connsiteX21" fmla="*/ 343419 w 520485"/>
              <a:gd name="connsiteY21" fmla="*/ 14935 h 547879"/>
              <a:gd name="connsiteX22" fmla="*/ 344753 w 520485"/>
              <a:gd name="connsiteY22" fmla="*/ 16053 h 547879"/>
              <a:gd name="connsiteX23" fmla="*/ 504432 w 520485"/>
              <a:gd name="connsiteY23" fmla="*/ 175705 h 547879"/>
              <a:gd name="connsiteX24" fmla="*/ 520485 w 520485"/>
              <a:gd name="connsiteY24" fmla="*/ 214440 h 547879"/>
              <a:gd name="connsiteX25" fmla="*/ 520485 w 520485"/>
              <a:gd name="connsiteY25" fmla="*/ 493091 h 547879"/>
              <a:gd name="connsiteX26" fmla="*/ 465697 w 520485"/>
              <a:gd name="connsiteY26" fmla="*/ 547879 h 547879"/>
              <a:gd name="connsiteX27" fmla="*/ 418130 w 520485"/>
              <a:gd name="connsiteY27" fmla="*/ 547879 h 547879"/>
              <a:gd name="connsiteX28" fmla="*/ 437369 w 520485"/>
              <a:gd name="connsiteY28" fmla="*/ 506788 h 547879"/>
              <a:gd name="connsiteX29" fmla="*/ 465697 w 520485"/>
              <a:gd name="connsiteY29" fmla="*/ 506788 h 547879"/>
              <a:gd name="connsiteX30" fmla="*/ 448658 w 520485"/>
              <a:gd name="connsiteY30" fmla="*/ 178061 h 547879"/>
              <a:gd name="connsiteX31" fmla="*/ 342424 w 520485"/>
              <a:gd name="connsiteY31" fmla="*/ 71800 h 547879"/>
              <a:gd name="connsiteX32" fmla="*/ 342424 w 520485"/>
              <a:gd name="connsiteY32" fmla="*/ 164364 h 547879"/>
              <a:gd name="connsiteX33" fmla="*/ 356121 w 520485"/>
              <a:gd name="connsiteY33" fmla="*/ 178061 h 547879"/>
              <a:gd name="connsiteX34" fmla="*/ 448658 w 520485"/>
              <a:gd name="connsiteY34" fmla="*/ 178061 h 547879"/>
              <a:gd name="connsiteX35" fmla="*/ 302764 w 520485"/>
              <a:gd name="connsiteY35" fmla="*/ 506788 h 547879"/>
              <a:gd name="connsiteX36" fmla="*/ 354752 w 520485"/>
              <a:gd name="connsiteY36" fmla="*/ 547879 h 547879"/>
              <a:gd name="connsiteX37" fmla="*/ 357491 w 520485"/>
              <a:gd name="connsiteY37" fmla="*/ 547879 h 547879"/>
              <a:gd name="connsiteX38" fmla="*/ 409479 w 520485"/>
              <a:gd name="connsiteY38" fmla="*/ 506788 h 547879"/>
              <a:gd name="connsiteX39" fmla="*/ 410909 w 520485"/>
              <a:gd name="connsiteY39" fmla="*/ 494461 h 547879"/>
              <a:gd name="connsiteX40" fmla="*/ 410909 w 520485"/>
              <a:gd name="connsiteY40" fmla="*/ 488056 h 547879"/>
              <a:gd name="connsiteX41" fmla="*/ 387635 w 520485"/>
              <a:gd name="connsiteY41" fmla="*/ 446949 h 547879"/>
              <a:gd name="connsiteX42" fmla="*/ 345750 w 520485"/>
              <a:gd name="connsiteY42" fmla="*/ 421818 h 547879"/>
              <a:gd name="connsiteX43" fmla="*/ 342424 w 520485"/>
              <a:gd name="connsiteY43" fmla="*/ 415944 h 547879"/>
              <a:gd name="connsiteX44" fmla="*/ 342424 w 520485"/>
              <a:gd name="connsiteY44" fmla="*/ 409540 h 547879"/>
              <a:gd name="connsiteX45" fmla="*/ 354752 w 520485"/>
              <a:gd name="connsiteY45" fmla="*/ 397212 h 547879"/>
              <a:gd name="connsiteX46" fmla="*/ 357491 w 520485"/>
              <a:gd name="connsiteY46" fmla="*/ 397212 h 547879"/>
              <a:gd name="connsiteX47" fmla="*/ 369818 w 520485"/>
              <a:gd name="connsiteY47" fmla="*/ 409540 h 547879"/>
              <a:gd name="connsiteX48" fmla="*/ 369818 w 520485"/>
              <a:gd name="connsiteY48" fmla="*/ 410909 h 547879"/>
              <a:gd name="connsiteX49" fmla="*/ 390364 w 520485"/>
              <a:gd name="connsiteY49" fmla="*/ 431455 h 547879"/>
              <a:gd name="connsiteX50" fmla="*/ 410909 w 520485"/>
              <a:gd name="connsiteY50" fmla="*/ 410909 h 547879"/>
              <a:gd name="connsiteX51" fmla="*/ 410909 w 520485"/>
              <a:gd name="connsiteY51" fmla="*/ 409540 h 547879"/>
              <a:gd name="connsiteX52" fmla="*/ 357491 w 520485"/>
              <a:gd name="connsiteY52" fmla="*/ 356121 h 547879"/>
              <a:gd name="connsiteX53" fmla="*/ 354752 w 520485"/>
              <a:gd name="connsiteY53" fmla="*/ 356121 h 547879"/>
              <a:gd name="connsiteX54" fmla="*/ 301334 w 520485"/>
              <a:gd name="connsiteY54" fmla="*/ 409540 h 547879"/>
              <a:gd name="connsiteX55" fmla="*/ 301334 w 520485"/>
              <a:gd name="connsiteY55" fmla="*/ 415944 h 547879"/>
              <a:gd name="connsiteX56" fmla="*/ 324607 w 520485"/>
              <a:gd name="connsiteY56" fmla="*/ 457052 h 547879"/>
              <a:gd name="connsiteX57" fmla="*/ 366493 w 520485"/>
              <a:gd name="connsiteY57" fmla="*/ 482183 h 547879"/>
              <a:gd name="connsiteX58" fmla="*/ 369818 w 520485"/>
              <a:gd name="connsiteY58" fmla="*/ 488056 h 547879"/>
              <a:gd name="connsiteX59" fmla="*/ 369818 w 520485"/>
              <a:gd name="connsiteY59" fmla="*/ 494461 h 547879"/>
              <a:gd name="connsiteX60" fmla="*/ 357491 w 520485"/>
              <a:gd name="connsiteY60" fmla="*/ 506788 h 547879"/>
              <a:gd name="connsiteX61" fmla="*/ 354752 w 520485"/>
              <a:gd name="connsiteY61" fmla="*/ 506788 h 547879"/>
              <a:gd name="connsiteX62" fmla="*/ 342424 w 520485"/>
              <a:gd name="connsiteY62" fmla="*/ 494461 h 547879"/>
              <a:gd name="connsiteX63" fmla="*/ 342424 w 520485"/>
              <a:gd name="connsiteY63" fmla="*/ 493091 h 547879"/>
              <a:gd name="connsiteX64" fmla="*/ 321879 w 520485"/>
              <a:gd name="connsiteY64" fmla="*/ 472546 h 547879"/>
              <a:gd name="connsiteX65" fmla="*/ 301334 w 520485"/>
              <a:gd name="connsiteY65" fmla="*/ 493091 h 547879"/>
              <a:gd name="connsiteX66" fmla="*/ 301334 w 520485"/>
              <a:gd name="connsiteY66" fmla="*/ 494461 h 547879"/>
              <a:gd name="connsiteX67" fmla="*/ 302764 w 520485"/>
              <a:gd name="connsiteY67" fmla="*/ 506788 h 547879"/>
              <a:gd name="connsiteX68" fmla="*/ 135603 w 520485"/>
              <a:gd name="connsiteY68" fmla="*/ 547863 h 547879"/>
              <a:gd name="connsiteX69" fmla="*/ 136970 w 520485"/>
              <a:gd name="connsiteY69" fmla="*/ 546496 h 547879"/>
              <a:gd name="connsiteX70" fmla="*/ 136970 w 520485"/>
              <a:gd name="connsiteY70" fmla="*/ 547879 h 547879"/>
              <a:gd name="connsiteX71" fmla="*/ 135603 w 520485"/>
              <a:gd name="connsiteY71" fmla="*/ 547863 h 547879"/>
              <a:gd name="connsiteX72" fmla="*/ 171121 w 520485"/>
              <a:gd name="connsiteY72" fmla="*/ 520485 h 547879"/>
              <a:gd name="connsiteX73" fmla="*/ 165793 w 520485"/>
              <a:gd name="connsiteY73" fmla="*/ 506788 h 547879"/>
              <a:gd name="connsiteX74" fmla="*/ 164364 w 520485"/>
              <a:gd name="connsiteY74" fmla="*/ 494461 h 547879"/>
              <a:gd name="connsiteX75" fmla="*/ 164364 w 520485"/>
              <a:gd name="connsiteY75" fmla="*/ 493091 h 547879"/>
              <a:gd name="connsiteX76" fmla="*/ 184909 w 520485"/>
              <a:gd name="connsiteY76" fmla="*/ 472546 h 547879"/>
              <a:gd name="connsiteX77" fmla="*/ 205455 w 520485"/>
              <a:gd name="connsiteY77" fmla="*/ 493091 h 547879"/>
              <a:gd name="connsiteX78" fmla="*/ 205455 w 520485"/>
              <a:gd name="connsiteY78" fmla="*/ 494461 h 547879"/>
              <a:gd name="connsiteX79" fmla="*/ 217782 w 520485"/>
              <a:gd name="connsiteY79" fmla="*/ 506788 h 547879"/>
              <a:gd name="connsiteX80" fmla="*/ 220521 w 520485"/>
              <a:gd name="connsiteY80" fmla="*/ 506788 h 547879"/>
              <a:gd name="connsiteX81" fmla="*/ 232849 w 520485"/>
              <a:gd name="connsiteY81" fmla="*/ 494461 h 547879"/>
              <a:gd name="connsiteX82" fmla="*/ 232849 w 520485"/>
              <a:gd name="connsiteY82" fmla="*/ 488056 h 547879"/>
              <a:gd name="connsiteX83" fmla="*/ 229524 w 520485"/>
              <a:gd name="connsiteY83" fmla="*/ 482183 h 547879"/>
              <a:gd name="connsiteX84" fmla="*/ 187638 w 520485"/>
              <a:gd name="connsiteY84" fmla="*/ 457052 h 547879"/>
              <a:gd name="connsiteX85" fmla="*/ 164364 w 520485"/>
              <a:gd name="connsiteY85" fmla="*/ 415944 h 547879"/>
              <a:gd name="connsiteX86" fmla="*/ 164364 w 520485"/>
              <a:gd name="connsiteY86" fmla="*/ 409540 h 547879"/>
              <a:gd name="connsiteX87" fmla="*/ 217782 w 520485"/>
              <a:gd name="connsiteY87" fmla="*/ 356121 h 547879"/>
              <a:gd name="connsiteX88" fmla="*/ 220521 w 520485"/>
              <a:gd name="connsiteY88" fmla="*/ 356121 h 547879"/>
              <a:gd name="connsiteX89" fmla="*/ 273940 w 520485"/>
              <a:gd name="connsiteY89" fmla="*/ 409540 h 547879"/>
              <a:gd name="connsiteX90" fmla="*/ 273940 w 520485"/>
              <a:gd name="connsiteY90" fmla="*/ 410909 h 547879"/>
              <a:gd name="connsiteX91" fmla="*/ 253394 w 520485"/>
              <a:gd name="connsiteY91" fmla="*/ 431455 h 547879"/>
              <a:gd name="connsiteX92" fmla="*/ 232849 w 520485"/>
              <a:gd name="connsiteY92" fmla="*/ 410909 h 547879"/>
              <a:gd name="connsiteX93" fmla="*/ 232849 w 520485"/>
              <a:gd name="connsiteY93" fmla="*/ 409540 h 547879"/>
              <a:gd name="connsiteX94" fmla="*/ 220521 w 520485"/>
              <a:gd name="connsiteY94" fmla="*/ 397212 h 547879"/>
              <a:gd name="connsiteX95" fmla="*/ 217782 w 520485"/>
              <a:gd name="connsiteY95" fmla="*/ 397212 h 547879"/>
              <a:gd name="connsiteX96" fmla="*/ 205455 w 520485"/>
              <a:gd name="connsiteY96" fmla="*/ 409540 h 547879"/>
              <a:gd name="connsiteX97" fmla="*/ 205455 w 520485"/>
              <a:gd name="connsiteY97" fmla="*/ 415944 h 547879"/>
              <a:gd name="connsiteX98" fmla="*/ 208780 w 520485"/>
              <a:gd name="connsiteY98" fmla="*/ 421818 h 547879"/>
              <a:gd name="connsiteX99" fmla="*/ 250666 w 520485"/>
              <a:gd name="connsiteY99" fmla="*/ 446949 h 547879"/>
              <a:gd name="connsiteX100" fmla="*/ 273940 w 520485"/>
              <a:gd name="connsiteY100" fmla="*/ 488056 h 547879"/>
              <a:gd name="connsiteX101" fmla="*/ 273940 w 520485"/>
              <a:gd name="connsiteY101" fmla="*/ 494461 h 547879"/>
              <a:gd name="connsiteX102" fmla="*/ 272510 w 520485"/>
              <a:gd name="connsiteY102" fmla="*/ 506788 h 547879"/>
              <a:gd name="connsiteX103" fmla="*/ 267182 w 520485"/>
              <a:gd name="connsiteY103" fmla="*/ 520485 h 547879"/>
              <a:gd name="connsiteX104" fmla="*/ 220521 w 520485"/>
              <a:gd name="connsiteY104" fmla="*/ 547879 h 547879"/>
              <a:gd name="connsiteX105" fmla="*/ 217782 w 520485"/>
              <a:gd name="connsiteY105" fmla="*/ 547879 h 547879"/>
              <a:gd name="connsiteX106" fmla="*/ 171121 w 520485"/>
              <a:gd name="connsiteY106" fmla="*/ 520485 h 547879"/>
              <a:gd name="connsiteX107" fmla="*/ 131719 w 520485"/>
              <a:gd name="connsiteY107" fmla="*/ 505742 h 547879"/>
              <a:gd name="connsiteX108" fmla="*/ 136970 w 520485"/>
              <a:gd name="connsiteY108" fmla="*/ 479394 h 547879"/>
              <a:gd name="connsiteX109" fmla="*/ 123273 w 520485"/>
              <a:gd name="connsiteY109" fmla="*/ 460019 h 547879"/>
              <a:gd name="connsiteX110" fmla="*/ 116424 w 520485"/>
              <a:gd name="connsiteY110" fmla="*/ 458849 h 547879"/>
              <a:gd name="connsiteX111" fmla="*/ 98622 w 520485"/>
              <a:gd name="connsiteY111" fmla="*/ 469133 h 547879"/>
              <a:gd name="connsiteX112" fmla="*/ 95879 w 520485"/>
              <a:gd name="connsiteY112" fmla="*/ 479394 h 547879"/>
              <a:gd name="connsiteX113" fmla="*/ 83010 w 520485"/>
              <a:gd name="connsiteY113" fmla="*/ 502624 h 547879"/>
              <a:gd name="connsiteX114" fmla="*/ 68485 w 520485"/>
              <a:gd name="connsiteY114" fmla="*/ 506788 h 547879"/>
              <a:gd name="connsiteX115" fmla="*/ 41091 w 520485"/>
              <a:gd name="connsiteY115" fmla="*/ 479394 h 547879"/>
              <a:gd name="connsiteX116" fmla="*/ 41091 w 520485"/>
              <a:gd name="connsiteY116" fmla="*/ 424606 h 547879"/>
              <a:gd name="connsiteX117" fmla="*/ 68485 w 520485"/>
              <a:gd name="connsiteY117" fmla="*/ 397212 h 547879"/>
              <a:gd name="connsiteX118" fmla="*/ 82182 w 520485"/>
              <a:gd name="connsiteY118" fmla="*/ 400878 h 547879"/>
              <a:gd name="connsiteX119" fmla="*/ 95879 w 520485"/>
              <a:gd name="connsiteY119" fmla="*/ 424606 h 547879"/>
              <a:gd name="connsiteX120" fmla="*/ 98622 w 520485"/>
              <a:gd name="connsiteY120" fmla="*/ 434868 h 547879"/>
              <a:gd name="connsiteX121" fmla="*/ 116424 w 520485"/>
              <a:gd name="connsiteY121" fmla="*/ 445152 h 547879"/>
              <a:gd name="connsiteX122" fmla="*/ 123273 w 520485"/>
              <a:gd name="connsiteY122" fmla="*/ 443982 h 547879"/>
              <a:gd name="connsiteX123" fmla="*/ 136970 w 520485"/>
              <a:gd name="connsiteY123" fmla="*/ 424606 h 547879"/>
              <a:gd name="connsiteX124" fmla="*/ 123273 w 520485"/>
              <a:gd name="connsiteY124" fmla="*/ 383510 h 547879"/>
              <a:gd name="connsiteX125" fmla="*/ 82182 w 520485"/>
              <a:gd name="connsiteY125" fmla="*/ 357491 h 547879"/>
              <a:gd name="connsiteX126" fmla="*/ 68485 w 520485"/>
              <a:gd name="connsiteY126" fmla="*/ 356121 h 547879"/>
              <a:gd name="connsiteX127" fmla="*/ 0 w 520485"/>
              <a:gd name="connsiteY127" fmla="*/ 424606 h 547879"/>
              <a:gd name="connsiteX128" fmla="*/ 0 w 520485"/>
              <a:gd name="connsiteY128" fmla="*/ 479394 h 547879"/>
              <a:gd name="connsiteX129" fmla="*/ 68485 w 520485"/>
              <a:gd name="connsiteY129" fmla="*/ 547879 h 547879"/>
              <a:gd name="connsiteX130" fmla="*/ 104824 w 520485"/>
              <a:gd name="connsiteY130" fmla="*/ 537453 h 547879"/>
              <a:gd name="connsiteX131" fmla="*/ 131719 w 520485"/>
              <a:gd name="connsiteY131" fmla="*/ 505742 h 547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</a:cxnLst>
            <a:rect l="l" t="t" r="r" b="b"/>
            <a:pathLst>
              <a:path w="520485" h="547879">
                <a:moveTo>
                  <a:pt x="465697" y="506788"/>
                </a:moveTo>
                <a:cubicBezTo>
                  <a:pt x="473258" y="506788"/>
                  <a:pt x="479394" y="500625"/>
                  <a:pt x="479394" y="493091"/>
                </a:cubicBezTo>
                <a:lnTo>
                  <a:pt x="479394" y="219152"/>
                </a:lnTo>
                <a:lnTo>
                  <a:pt x="356121" y="219152"/>
                </a:lnTo>
                <a:cubicBezTo>
                  <a:pt x="325879" y="219152"/>
                  <a:pt x="301334" y="194607"/>
                  <a:pt x="301334" y="164364"/>
                </a:cubicBezTo>
                <a:lnTo>
                  <a:pt x="301334" y="41091"/>
                </a:lnTo>
                <a:lnTo>
                  <a:pt x="136970" y="41091"/>
                </a:lnTo>
                <a:cubicBezTo>
                  <a:pt x="129409" y="41091"/>
                  <a:pt x="123273" y="47255"/>
                  <a:pt x="123273" y="54788"/>
                </a:cubicBezTo>
                <a:lnTo>
                  <a:pt x="123273" y="345912"/>
                </a:lnTo>
                <a:cubicBezTo>
                  <a:pt x="111288" y="337554"/>
                  <a:pt x="97304" y="331861"/>
                  <a:pt x="82182" y="329697"/>
                </a:cubicBezTo>
                <a:lnTo>
                  <a:pt x="82182" y="54788"/>
                </a:lnTo>
                <a:cubicBezTo>
                  <a:pt x="82182" y="24545"/>
                  <a:pt x="106727" y="0"/>
                  <a:pt x="136970" y="0"/>
                </a:cubicBezTo>
                <a:lnTo>
                  <a:pt x="306045" y="0"/>
                </a:lnTo>
                <a:cubicBezTo>
                  <a:pt x="306810" y="0"/>
                  <a:pt x="307555" y="102"/>
                  <a:pt x="308297" y="203"/>
                </a:cubicBezTo>
                <a:cubicBezTo>
                  <a:pt x="308834" y="276"/>
                  <a:pt x="309368" y="349"/>
                  <a:pt x="309908" y="384"/>
                </a:cubicBezTo>
                <a:cubicBezTo>
                  <a:pt x="315798" y="794"/>
                  <a:pt x="321605" y="1918"/>
                  <a:pt x="327002" y="4164"/>
                </a:cubicBezTo>
                <a:cubicBezTo>
                  <a:pt x="328574" y="4834"/>
                  <a:pt x="330064" y="5697"/>
                  <a:pt x="331549" y="6556"/>
                </a:cubicBezTo>
                <a:cubicBezTo>
                  <a:pt x="332007" y="6820"/>
                  <a:pt x="332461" y="7084"/>
                  <a:pt x="332919" y="7342"/>
                </a:cubicBezTo>
                <a:cubicBezTo>
                  <a:pt x="333343" y="7574"/>
                  <a:pt x="333782" y="7787"/>
                  <a:pt x="334220" y="8001"/>
                </a:cubicBezTo>
                <a:cubicBezTo>
                  <a:pt x="334976" y="8368"/>
                  <a:pt x="335732" y="8737"/>
                  <a:pt x="336425" y="9204"/>
                </a:cubicBezTo>
                <a:cubicBezTo>
                  <a:pt x="338562" y="10656"/>
                  <a:pt x="340480" y="12382"/>
                  <a:pt x="342424" y="14135"/>
                </a:cubicBezTo>
                <a:cubicBezTo>
                  <a:pt x="342740" y="14415"/>
                  <a:pt x="343076" y="14674"/>
                  <a:pt x="343419" y="14935"/>
                </a:cubicBezTo>
                <a:cubicBezTo>
                  <a:pt x="343879" y="15288"/>
                  <a:pt x="344342" y="15643"/>
                  <a:pt x="344753" y="16053"/>
                </a:cubicBezTo>
                <a:lnTo>
                  <a:pt x="504432" y="175705"/>
                </a:lnTo>
                <a:cubicBezTo>
                  <a:pt x="514705" y="185978"/>
                  <a:pt x="520485" y="199921"/>
                  <a:pt x="520485" y="214440"/>
                </a:cubicBezTo>
                <a:lnTo>
                  <a:pt x="520485" y="493091"/>
                </a:lnTo>
                <a:cubicBezTo>
                  <a:pt x="520485" y="523334"/>
                  <a:pt x="495940" y="547879"/>
                  <a:pt x="465697" y="547879"/>
                </a:cubicBezTo>
                <a:lnTo>
                  <a:pt x="418130" y="547879"/>
                </a:lnTo>
                <a:cubicBezTo>
                  <a:pt x="428118" y="536552"/>
                  <a:pt x="434978" y="522406"/>
                  <a:pt x="437369" y="506788"/>
                </a:cubicBezTo>
                <a:lnTo>
                  <a:pt x="465697" y="506788"/>
                </a:lnTo>
                <a:close/>
                <a:moveTo>
                  <a:pt x="448658" y="178061"/>
                </a:moveTo>
                <a:lnTo>
                  <a:pt x="342424" y="71800"/>
                </a:lnTo>
                <a:lnTo>
                  <a:pt x="342424" y="164364"/>
                </a:lnTo>
                <a:cubicBezTo>
                  <a:pt x="342424" y="171897"/>
                  <a:pt x="348561" y="178061"/>
                  <a:pt x="356121" y="178061"/>
                </a:cubicBezTo>
                <a:lnTo>
                  <a:pt x="448658" y="178061"/>
                </a:lnTo>
                <a:close/>
                <a:moveTo>
                  <a:pt x="302764" y="506788"/>
                </a:moveTo>
                <a:cubicBezTo>
                  <a:pt x="308327" y="530347"/>
                  <a:pt x="329492" y="547879"/>
                  <a:pt x="354752" y="547879"/>
                </a:cubicBezTo>
                <a:lnTo>
                  <a:pt x="357491" y="547879"/>
                </a:lnTo>
                <a:cubicBezTo>
                  <a:pt x="382751" y="547879"/>
                  <a:pt x="403916" y="530347"/>
                  <a:pt x="409479" y="506788"/>
                </a:cubicBezTo>
                <a:cubicBezTo>
                  <a:pt x="410414" y="502830"/>
                  <a:pt x="410909" y="498704"/>
                  <a:pt x="410909" y="494461"/>
                </a:cubicBezTo>
                <a:lnTo>
                  <a:pt x="410909" y="488056"/>
                </a:lnTo>
                <a:cubicBezTo>
                  <a:pt x="410909" y="471217"/>
                  <a:pt x="402075" y="455611"/>
                  <a:pt x="387635" y="446949"/>
                </a:cubicBezTo>
                <a:lnTo>
                  <a:pt x="345750" y="421818"/>
                </a:lnTo>
                <a:cubicBezTo>
                  <a:pt x="343687" y="420579"/>
                  <a:pt x="342424" y="418350"/>
                  <a:pt x="342424" y="415944"/>
                </a:cubicBezTo>
                <a:lnTo>
                  <a:pt x="342424" y="409540"/>
                </a:lnTo>
                <a:cubicBezTo>
                  <a:pt x="342424" y="402732"/>
                  <a:pt x="347944" y="397212"/>
                  <a:pt x="354752" y="397212"/>
                </a:cubicBezTo>
                <a:lnTo>
                  <a:pt x="357491" y="397212"/>
                </a:lnTo>
                <a:cubicBezTo>
                  <a:pt x="364299" y="397212"/>
                  <a:pt x="369818" y="402732"/>
                  <a:pt x="369818" y="409540"/>
                </a:cubicBezTo>
                <a:lnTo>
                  <a:pt x="369818" y="410909"/>
                </a:lnTo>
                <a:cubicBezTo>
                  <a:pt x="369818" y="422256"/>
                  <a:pt x="379017" y="431455"/>
                  <a:pt x="390364" y="431455"/>
                </a:cubicBezTo>
                <a:cubicBezTo>
                  <a:pt x="401710" y="431455"/>
                  <a:pt x="410909" y="422256"/>
                  <a:pt x="410909" y="410909"/>
                </a:cubicBezTo>
                <a:lnTo>
                  <a:pt x="410909" y="409540"/>
                </a:lnTo>
                <a:cubicBezTo>
                  <a:pt x="410909" y="380036"/>
                  <a:pt x="386994" y="356121"/>
                  <a:pt x="357491" y="356121"/>
                </a:cubicBezTo>
                <a:lnTo>
                  <a:pt x="354752" y="356121"/>
                </a:lnTo>
                <a:cubicBezTo>
                  <a:pt x="325248" y="356121"/>
                  <a:pt x="301334" y="380036"/>
                  <a:pt x="301334" y="409540"/>
                </a:cubicBezTo>
                <a:lnTo>
                  <a:pt x="301334" y="415944"/>
                </a:lnTo>
                <a:cubicBezTo>
                  <a:pt x="301334" y="432783"/>
                  <a:pt x="310168" y="448390"/>
                  <a:pt x="324607" y="457052"/>
                </a:cubicBezTo>
                <a:lnTo>
                  <a:pt x="366493" y="482183"/>
                </a:lnTo>
                <a:cubicBezTo>
                  <a:pt x="368556" y="483421"/>
                  <a:pt x="369818" y="485651"/>
                  <a:pt x="369818" y="488056"/>
                </a:cubicBezTo>
                <a:lnTo>
                  <a:pt x="369818" y="494461"/>
                </a:lnTo>
                <a:cubicBezTo>
                  <a:pt x="369818" y="501268"/>
                  <a:pt x="364299" y="506788"/>
                  <a:pt x="357491" y="506788"/>
                </a:cubicBezTo>
                <a:lnTo>
                  <a:pt x="354752" y="506788"/>
                </a:lnTo>
                <a:cubicBezTo>
                  <a:pt x="347944" y="506788"/>
                  <a:pt x="342424" y="501268"/>
                  <a:pt x="342424" y="494461"/>
                </a:cubicBezTo>
                <a:lnTo>
                  <a:pt x="342424" y="493091"/>
                </a:lnTo>
                <a:cubicBezTo>
                  <a:pt x="342424" y="481745"/>
                  <a:pt x="333226" y="472546"/>
                  <a:pt x="321879" y="472546"/>
                </a:cubicBezTo>
                <a:cubicBezTo>
                  <a:pt x="310532" y="472546"/>
                  <a:pt x="301334" y="481745"/>
                  <a:pt x="301334" y="493091"/>
                </a:cubicBezTo>
                <a:lnTo>
                  <a:pt x="301334" y="494461"/>
                </a:lnTo>
                <a:cubicBezTo>
                  <a:pt x="301334" y="498704"/>
                  <a:pt x="301829" y="502830"/>
                  <a:pt x="302764" y="506788"/>
                </a:cubicBezTo>
                <a:close/>
                <a:moveTo>
                  <a:pt x="135603" y="547863"/>
                </a:moveTo>
                <a:cubicBezTo>
                  <a:pt x="136063" y="547411"/>
                  <a:pt x="136519" y="546956"/>
                  <a:pt x="136970" y="546496"/>
                </a:cubicBezTo>
                <a:lnTo>
                  <a:pt x="136970" y="547879"/>
                </a:lnTo>
                <a:cubicBezTo>
                  <a:pt x="136513" y="547879"/>
                  <a:pt x="136057" y="547874"/>
                  <a:pt x="135603" y="547863"/>
                </a:cubicBezTo>
                <a:close/>
                <a:moveTo>
                  <a:pt x="171121" y="520485"/>
                </a:moveTo>
                <a:cubicBezTo>
                  <a:pt x="168750" y="516242"/>
                  <a:pt x="166940" y="511642"/>
                  <a:pt x="165793" y="506788"/>
                </a:cubicBezTo>
                <a:cubicBezTo>
                  <a:pt x="164858" y="502830"/>
                  <a:pt x="164364" y="498704"/>
                  <a:pt x="164364" y="494461"/>
                </a:cubicBezTo>
                <a:lnTo>
                  <a:pt x="164364" y="493091"/>
                </a:lnTo>
                <a:cubicBezTo>
                  <a:pt x="164364" y="481745"/>
                  <a:pt x="173562" y="472546"/>
                  <a:pt x="184909" y="472546"/>
                </a:cubicBezTo>
                <a:cubicBezTo>
                  <a:pt x="196256" y="472546"/>
                  <a:pt x="205455" y="481745"/>
                  <a:pt x="205455" y="493091"/>
                </a:cubicBezTo>
                <a:lnTo>
                  <a:pt x="205455" y="494461"/>
                </a:lnTo>
                <a:cubicBezTo>
                  <a:pt x="205455" y="501268"/>
                  <a:pt x="210974" y="506788"/>
                  <a:pt x="217782" y="506788"/>
                </a:cubicBezTo>
                <a:lnTo>
                  <a:pt x="220521" y="506788"/>
                </a:lnTo>
                <a:cubicBezTo>
                  <a:pt x="227330" y="506788"/>
                  <a:pt x="232849" y="501268"/>
                  <a:pt x="232849" y="494461"/>
                </a:cubicBezTo>
                <a:lnTo>
                  <a:pt x="232849" y="488056"/>
                </a:lnTo>
                <a:cubicBezTo>
                  <a:pt x="232849" y="485651"/>
                  <a:pt x="231587" y="483421"/>
                  <a:pt x="229524" y="482183"/>
                </a:cubicBezTo>
                <a:lnTo>
                  <a:pt x="187638" y="457052"/>
                </a:lnTo>
                <a:cubicBezTo>
                  <a:pt x="173199" y="448390"/>
                  <a:pt x="164364" y="432783"/>
                  <a:pt x="164364" y="415944"/>
                </a:cubicBezTo>
                <a:lnTo>
                  <a:pt x="164364" y="409540"/>
                </a:lnTo>
                <a:cubicBezTo>
                  <a:pt x="164364" y="380036"/>
                  <a:pt x="188280" y="356121"/>
                  <a:pt x="217782" y="356121"/>
                </a:cubicBezTo>
                <a:lnTo>
                  <a:pt x="220521" y="356121"/>
                </a:lnTo>
                <a:cubicBezTo>
                  <a:pt x="250025" y="356121"/>
                  <a:pt x="273940" y="380036"/>
                  <a:pt x="273940" y="409540"/>
                </a:cubicBezTo>
                <a:lnTo>
                  <a:pt x="273940" y="410909"/>
                </a:lnTo>
                <a:cubicBezTo>
                  <a:pt x="273940" y="422256"/>
                  <a:pt x="264741" y="431455"/>
                  <a:pt x="253394" y="431455"/>
                </a:cubicBezTo>
                <a:cubicBezTo>
                  <a:pt x="242047" y="431455"/>
                  <a:pt x="232849" y="422256"/>
                  <a:pt x="232849" y="410909"/>
                </a:cubicBezTo>
                <a:lnTo>
                  <a:pt x="232849" y="409540"/>
                </a:lnTo>
                <a:cubicBezTo>
                  <a:pt x="232849" y="402732"/>
                  <a:pt x="227330" y="397212"/>
                  <a:pt x="220521" y="397212"/>
                </a:cubicBezTo>
                <a:lnTo>
                  <a:pt x="217782" y="397212"/>
                </a:lnTo>
                <a:cubicBezTo>
                  <a:pt x="210974" y="397212"/>
                  <a:pt x="205455" y="402732"/>
                  <a:pt x="205455" y="409540"/>
                </a:cubicBezTo>
                <a:lnTo>
                  <a:pt x="205455" y="415944"/>
                </a:lnTo>
                <a:cubicBezTo>
                  <a:pt x="205455" y="418350"/>
                  <a:pt x="206717" y="420579"/>
                  <a:pt x="208780" y="421818"/>
                </a:cubicBezTo>
                <a:lnTo>
                  <a:pt x="250666" y="446949"/>
                </a:lnTo>
                <a:cubicBezTo>
                  <a:pt x="265105" y="455611"/>
                  <a:pt x="273940" y="471217"/>
                  <a:pt x="273940" y="488056"/>
                </a:cubicBezTo>
                <a:lnTo>
                  <a:pt x="273940" y="494461"/>
                </a:lnTo>
                <a:cubicBezTo>
                  <a:pt x="273940" y="498704"/>
                  <a:pt x="273444" y="502830"/>
                  <a:pt x="272510" y="506788"/>
                </a:cubicBezTo>
                <a:cubicBezTo>
                  <a:pt x="271365" y="511642"/>
                  <a:pt x="269554" y="516242"/>
                  <a:pt x="267182" y="520485"/>
                </a:cubicBezTo>
                <a:cubicBezTo>
                  <a:pt x="258048" y="536828"/>
                  <a:pt x="240575" y="547879"/>
                  <a:pt x="220521" y="547879"/>
                </a:cubicBezTo>
                <a:lnTo>
                  <a:pt x="217782" y="547879"/>
                </a:lnTo>
                <a:cubicBezTo>
                  <a:pt x="197728" y="547879"/>
                  <a:pt x="180256" y="536828"/>
                  <a:pt x="171121" y="520485"/>
                </a:cubicBezTo>
                <a:close/>
                <a:moveTo>
                  <a:pt x="131719" y="505742"/>
                </a:moveTo>
                <a:cubicBezTo>
                  <a:pt x="135102" y="497630"/>
                  <a:pt x="136970" y="488730"/>
                  <a:pt x="136970" y="479394"/>
                </a:cubicBezTo>
                <a:cubicBezTo>
                  <a:pt x="136970" y="470447"/>
                  <a:pt x="131253" y="462837"/>
                  <a:pt x="123273" y="460019"/>
                </a:cubicBezTo>
                <a:cubicBezTo>
                  <a:pt x="121131" y="459260"/>
                  <a:pt x="118826" y="458849"/>
                  <a:pt x="116424" y="458849"/>
                </a:cubicBezTo>
                <a:cubicBezTo>
                  <a:pt x="108816" y="458849"/>
                  <a:pt x="102173" y="462985"/>
                  <a:pt x="98622" y="469133"/>
                </a:cubicBezTo>
                <a:cubicBezTo>
                  <a:pt x="96877" y="472151"/>
                  <a:pt x="95879" y="475655"/>
                  <a:pt x="95879" y="479394"/>
                </a:cubicBezTo>
                <a:cubicBezTo>
                  <a:pt x="95879" y="489188"/>
                  <a:pt x="90739" y="497781"/>
                  <a:pt x="83010" y="502624"/>
                </a:cubicBezTo>
                <a:cubicBezTo>
                  <a:pt x="78799" y="505262"/>
                  <a:pt x="73820" y="506788"/>
                  <a:pt x="68485" y="506788"/>
                </a:cubicBezTo>
                <a:cubicBezTo>
                  <a:pt x="53356" y="506788"/>
                  <a:pt x="41091" y="494524"/>
                  <a:pt x="41091" y="479394"/>
                </a:cubicBezTo>
                <a:lnTo>
                  <a:pt x="41091" y="424606"/>
                </a:lnTo>
                <a:cubicBezTo>
                  <a:pt x="41091" y="409477"/>
                  <a:pt x="53356" y="397212"/>
                  <a:pt x="68485" y="397212"/>
                </a:cubicBezTo>
                <a:cubicBezTo>
                  <a:pt x="73474" y="397212"/>
                  <a:pt x="78153" y="398547"/>
                  <a:pt x="82182" y="400878"/>
                </a:cubicBezTo>
                <a:cubicBezTo>
                  <a:pt x="90370" y="405614"/>
                  <a:pt x="95879" y="414468"/>
                  <a:pt x="95879" y="424606"/>
                </a:cubicBezTo>
                <a:cubicBezTo>
                  <a:pt x="95879" y="428346"/>
                  <a:pt x="96877" y="431849"/>
                  <a:pt x="98622" y="434868"/>
                </a:cubicBezTo>
                <a:cubicBezTo>
                  <a:pt x="102173" y="441015"/>
                  <a:pt x="108816" y="445152"/>
                  <a:pt x="116424" y="445152"/>
                </a:cubicBezTo>
                <a:cubicBezTo>
                  <a:pt x="118826" y="445152"/>
                  <a:pt x="121131" y="444741"/>
                  <a:pt x="123273" y="443982"/>
                </a:cubicBezTo>
                <a:cubicBezTo>
                  <a:pt x="131253" y="441163"/>
                  <a:pt x="136970" y="433553"/>
                  <a:pt x="136970" y="424606"/>
                </a:cubicBezTo>
                <a:cubicBezTo>
                  <a:pt x="136970" y="409186"/>
                  <a:pt x="131873" y="394955"/>
                  <a:pt x="123273" y="383510"/>
                </a:cubicBezTo>
                <a:cubicBezTo>
                  <a:pt x="113394" y="370361"/>
                  <a:pt x="98893" y="360883"/>
                  <a:pt x="82182" y="357491"/>
                </a:cubicBezTo>
                <a:cubicBezTo>
                  <a:pt x="77756" y="356593"/>
                  <a:pt x="73176" y="356121"/>
                  <a:pt x="68485" y="356121"/>
                </a:cubicBezTo>
                <a:cubicBezTo>
                  <a:pt x="30662" y="356121"/>
                  <a:pt x="0" y="386784"/>
                  <a:pt x="0" y="424606"/>
                </a:cubicBezTo>
                <a:lnTo>
                  <a:pt x="0" y="479394"/>
                </a:lnTo>
                <a:cubicBezTo>
                  <a:pt x="0" y="517217"/>
                  <a:pt x="30662" y="547879"/>
                  <a:pt x="68485" y="547879"/>
                </a:cubicBezTo>
                <a:cubicBezTo>
                  <a:pt x="81835" y="547879"/>
                  <a:pt x="94292" y="544060"/>
                  <a:pt x="104824" y="537453"/>
                </a:cubicBezTo>
                <a:cubicBezTo>
                  <a:pt x="116767" y="529964"/>
                  <a:pt x="126234" y="518891"/>
                  <a:pt x="131719" y="505742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3600000" scaled="0"/>
          </a:gra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5" name="Graphic 81" descr="Data Line&#10;Keyword: fluent-icon;&#10;Metaphor: data viz, visualization, chart, map, trending, graph.&#10;&#10;Used in data viz scenarios.">
            <a:extLst>
              <a:ext uri="{FF2B5EF4-FFF2-40B4-BE49-F238E27FC236}">
                <a16:creationId xmlns:a16="http://schemas.microsoft.com/office/drawing/2014/main" id="{F57369E2-DBE2-3FD3-1685-359D9275EB9B}"/>
              </a:ext>
            </a:extLst>
          </p:cNvPr>
          <p:cNvSpPr/>
          <p:nvPr/>
        </p:nvSpPr>
        <p:spPr>
          <a:xfrm>
            <a:off x="8168070" y="719568"/>
            <a:ext cx="547879" cy="493091"/>
          </a:xfrm>
          <a:custGeom>
            <a:avLst/>
            <a:gdLst>
              <a:gd name="connsiteX0" fmla="*/ 465697 w 547879"/>
              <a:gd name="connsiteY0" fmla="*/ 41091 h 493091"/>
              <a:gd name="connsiteX1" fmla="*/ 424606 w 547879"/>
              <a:gd name="connsiteY1" fmla="*/ 82182 h 493091"/>
              <a:gd name="connsiteX2" fmla="*/ 465697 w 547879"/>
              <a:gd name="connsiteY2" fmla="*/ 123273 h 493091"/>
              <a:gd name="connsiteX3" fmla="*/ 506788 w 547879"/>
              <a:gd name="connsiteY3" fmla="*/ 82182 h 493091"/>
              <a:gd name="connsiteX4" fmla="*/ 465697 w 547879"/>
              <a:gd name="connsiteY4" fmla="*/ 41091 h 493091"/>
              <a:gd name="connsiteX5" fmla="*/ 383515 w 547879"/>
              <a:gd name="connsiteY5" fmla="*/ 82182 h 493091"/>
              <a:gd name="connsiteX6" fmla="*/ 465697 w 547879"/>
              <a:gd name="connsiteY6" fmla="*/ 0 h 493091"/>
              <a:gd name="connsiteX7" fmla="*/ 547879 w 547879"/>
              <a:gd name="connsiteY7" fmla="*/ 82182 h 493091"/>
              <a:gd name="connsiteX8" fmla="*/ 465697 w 547879"/>
              <a:gd name="connsiteY8" fmla="*/ 164364 h 493091"/>
              <a:gd name="connsiteX9" fmla="*/ 452674 w 547879"/>
              <a:gd name="connsiteY9" fmla="*/ 163338 h 493091"/>
              <a:gd name="connsiteX10" fmla="*/ 396843 w 547879"/>
              <a:gd name="connsiteY10" fmla="*/ 255336 h 493091"/>
              <a:gd name="connsiteX11" fmla="*/ 410909 w 547879"/>
              <a:gd name="connsiteY11" fmla="*/ 301334 h 493091"/>
              <a:gd name="connsiteX12" fmla="*/ 328728 w 547879"/>
              <a:gd name="connsiteY12" fmla="*/ 383515 h 493091"/>
              <a:gd name="connsiteX13" fmla="*/ 266746 w 547879"/>
              <a:gd name="connsiteY13" fmla="*/ 355302 h 493091"/>
              <a:gd name="connsiteX14" fmla="*/ 164250 w 547879"/>
              <a:gd name="connsiteY14" fmla="*/ 406543 h 493091"/>
              <a:gd name="connsiteX15" fmla="*/ 164364 w 547879"/>
              <a:gd name="connsiteY15" fmla="*/ 410909 h 493091"/>
              <a:gd name="connsiteX16" fmla="*/ 82182 w 547879"/>
              <a:gd name="connsiteY16" fmla="*/ 493091 h 493091"/>
              <a:gd name="connsiteX17" fmla="*/ 0 w 547879"/>
              <a:gd name="connsiteY17" fmla="*/ 410909 h 493091"/>
              <a:gd name="connsiteX18" fmla="*/ 82182 w 547879"/>
              <a:gd name="connsiteY18" fmla="*/ 328728 h 493091"/>
              <a:gd name="connsiteX19" fmla="*/ 151612 w 547879"/>
              <a:gd name="connsiteY19" fmla="*/ 366920 h 493091"/>
              <a:gd name="connsiteX20" fmla="*/ 248354 w 547879"/>
              <a:gd name="connsiteY20" fmla="*/ 318556 h 493091"/>
              <a:gd name="connsiteX21" fmla="*/ 246546 w 547879"/>
              <a:gd name="connsiteY21" fmla="*/ 301334 h 493091"/>
              <a:gd name="connsiteX22" fmla="*/ 328728 w 547879"/>
              <a:gd name="connsiteY22" fmla="*/ 219152 h 493091"/>
              <a:gd name="connsiteX23" fmla="*/ 365482 w 547879"/>
              <a:gd name="connsiteY23" fmla="*/ 227808 h 493091"/>
              <a:gd name="connsiteX24" fmla="*/ 414731 w 547879"/>
              <a:gd name="connsiteY24" fmla="*/ 146656 h 493091"/>
              <a:gd name="connsiteX25" fmla="*/ 383515 w 547879"/>
              <a:gd name="connsiteY25" fmla="*/ 82182 h 493091"/>
              <a:gd name="connsiteX26" fmla="*/ 328728 w 547879"/>
              <a:gd name="connsiteY26" fmla="*/ 260243 h 493091"/>
              <a:gd name="connsiteX27" fmla="*/ 287637 w 547879"/>
              <a:gd name="connsiteY27" fmla="*/ 301334 h 493091"/>
              <a:gd name="connsiteX28" fmla="*/ 328728 w 547879"/>
              <a:gd name="connsiteY28" fmla="*/ 342424 h 493091"/>
              <a:gd name="connsiteX29" fmla="*/ 369818 w 547879"/>
              <a:gd name="connsiteY29" fmla="*/ 301334 h 493091"/>
              <a:gd name="connsiteX30" fmla="*/ 328728 w 547879"/>
              <a:gd name="connsiteY30" fmla="*/ 260243 h 493091"/>
              <a:gd name="connsiteX31" fmla="*/ 82182 w 547879"/>
              <a:gd name="connsiteY31" fmla="*/ 369818 h 493091"/>
              <a:gd name="connsiteX32" fmla="*/ 41091 w 547879"/>
              <a:gd name="connsiteY32" fmla="*/ 410909 h 493091"/>
              <a:gd name="connsiteX33" fmla="*/ 82182 w 547879"/>
              <a:gd name="connsiteY33" fmla="*/ 452000 h 493091"/>
              <a:gd name="connsiteX34" fmla="*/ 123273 w 547879"/>
              <a:gd name="connsiteY34" fmla="*/ 410909 h 493091"/>
              <a:gd name="connsiteX35" fmla="*/ 82182 w 547879"/>
              <a:gd name="connsiteY35" fmla="*/ 369818 h 493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47879" h="493091">
                <a:moveTo>
                  <a:pt x="465697" y="41091"/>
                </a:moveTo>
                <a:cubicBezTo>
                  <a:pt x="443004" y="41091"/>
                  <a:pt x="424606" y="59488"/>
                  <a:pt x="424606" y="82182"/>
                </a:cubicBezTo>
                <a:cubicBezTo>
                  <a:pt x="424606" y="104876"/>
                  <a:pt x="443004" y="123273"/>
                  <a:pt x="465697" y="123273"/>
                </a:cubicBezTo>
                <a:cubicBezTo>
                  <a:pt x="488390" y="123273"/>
                  <a:pt x="506788" y="104876"/>
                  <a:pt x="506788" y="82182"/>
                </a:cubicBezTo>
                <a:cubicBezTo>
                  <a:pt x="506788" y="59488"/>
                  <a:pt x="488390" y="41091"/>
                  <a:pt x="465697" y="41091"/>
                </a:cubicBezTo>
                <a:close/>
                <a:moveTo>
                  <a:pt x="383515" y="82182"/>
                </a:moveTo>
                <a:cubicBezTo>
                  <a:pt x="383515" y="36794"/>
                  <a:pt x="420308" y="0"/>
                  <a:pt x="465697" y="0"/>
                </a:cubicBezTo>
                <a:cubicBezTo>
                  <a:pt x="511086" y="0"/>
                  <a:pt x="547879" y="36794"/>
                  <a:pt x="547879" y="82182"/>
                </a:cubicBezTo>
                <a:cubicBezTo>
                  <a:pt x="547879" y="127570"/>
                  <a:pt x="511086" y="164364"/>
                  <a:pt x="465697" y="164364"/>
                </a:cubicBezTo>
                <a:cubicBezTo>
                  <a:pt x="461265" y="164364"/>
                  <a:pt x="456915" y="164013"/>
                  <a:pt x="452674" y="163338"/>
                </a:cubicBezTo>
                <a:lnTo>
                  <a:pt x="396843" y="255336"/>
                </a:lnTo>
                <a:cubicBezTo>
                  <a:pt x="405724" y="268464"/>
                  <a:pt x="410909" y="284292"/>
                  <a:pt x="410909" y="301334"/>
                </a:cubicBezTo>
                <a:cubicBezTo>
                  <a:pt x="410909" y="346723"/>
                  <a:pt x="374117" y="383515"/>
                  <a:pt x="328728" y="383515"/>
                </a:cubicBezTo>
                <a:cubicBezTo>
                  <a:pt x="303994" y="383515"/>
                  <a:pt x="281813" y="372591"/>
                  <a:pt x="266746" y="355302"/>
                </a:cubicBezTo>
                <a:lnTo>
                  <a:pt x="164250" y="406543"/>
                </a:lnTo>
                <a:cubicBezTo>
                  <a:pt x="164325" y="407989"/>
                  <a:pt x="164364" y="409444"/>
                  <a:pt x="164364" y="410909"/>
                </a:cubicBezTo>
                <a:cubicBezTo>
                  <a:pt x="164364" y="456298"/>
                  <a:pt x="127570" y="493091"/>
                  <a:pt x="82182" y="493091"/>
                </a:cubicBezTo>
                <a:cubicBezTo>
                  <a:pt x="36794" y="493091"/>
                  <a:pt x="0" y="456298"/>
                  <a:pt x="0" y="410909"/>
                </a:cubicBezTo>
                <a:cubicBezTo>
                  <a:pt x="0" y="365520"/>
                  <a:pt x="36794" y="328728"/>
                  <a:pt x="82182" y="328728"/>
                </a:cubicBezTo>
                <a:cubicBezTo>
                  <a:pt x="111388" y="328728"/>
                  <a:pt x="137036" y="343964"/>
                  <a:pt x="151612" y="366920"/>
                </a:cubicBezTo>
                <a:lnTo>
                  <a:pt x="248354" y="318556"/>
                </a:lnTo>
                <a:cubicBezTo>
                  <a:pt x="247170" y="313003"/>
                  <a:pt x="246546" y="307240"/>
                  <a:pt x="246546" y="301334"/>
                </a:cubicBezTo>
                <a:cubicBezTo>
                  <a:pt x="246546" y="255944"/>
                  <a:pt x="283338" y="219152"/>
                  <a:pt x="328728" y="219152"/>
                </a:cubicBezTo>
                <a:cubicBezTo>
                  <a:pt x="341940" y="219152"/>
                  <a:pt x="354423" y="222269"/>
                  <a:pt x="365482" y="227808"/>
                </a:cubicBezTo>
                <a:lnTo>
                  <a:pt x="414731" y="146656"/>
                </a:lnTo>
                <a:cubicBezTo>
                  <a:pt x="395717" y="131604"/>
                  <a:pt x="383515" y="108317"/>
                  <a:pt x="383515" y="82182"/>
                </a:cubicBezTo>
                <a:close/>
                <a:moveTo>
                  <a:pt x="328728" y="260243"/>
                </a:moveTo>
                <a:cubicBezTo>
                  <a:pt x="306034" y="260243"/>
                  <a:pt x="287637" y="278640"/>
                  <a:pt x="287637" y="301334"/>
                </a:cubicBezTo>
                <a:cubicBezTo>
                  <a:pt x="287637" y="324027"/>
                  <a:pt x="306034" y="342424"/>
                  <a:pt x="328728" y="342424"/>
                </a:cubicBezTo>
                <a:cubicBezTo>
                  <a:pt x="351421" y="342424"/>
                  <a:pt x="369818" y="324027"/>
                  <a:pt x="369818" y="301334"/>
                </a:cubicBezTo>
                <a:cubicBezTo>
                  <a:pt x="369818" y="278640"/>
                  <a:pt x="351421" y="260243"/>
                  <a:pt x="328728" y="260243"/>
                </a:cubicBezTo>
                <a:close/>
                <a:moveTo>
                  <a:pt x="82182" y="369818"/>
                </a:moveTo>
                <a:cubicBezTo>
                  <a:pt x="59488" y="369818"/>
                  <a:pt x="41091" y="388216"/>
                  <a:pt x="41091" y="410909"/>
                </a:cubicBezTo>
                <a:cubicBezTo>
                  <a:pt x="41091" y="433603"/>
                  <a:pt x="59488" y="452000"/>
                  <a:pt x="82182" y="452000"/>
                </a:cubicBezTo>
                <a:cubicBezTo>
                  <a:pt x="104876" y="452000"/>
                  <a:pt x="123273" y="433603"/>
                  <a:pt x="123273" y="410909"/>
                </a:cubicBezTo>
                <a:cubicBezTo>
                  <a:pt x="123273" y="388216"/>
                  <a:pt x="104876" y="369818"/>
                  <a:pt x="82182" y="369818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3600000" scaled="0"/>
          </a:gra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6" name="Graphic 79" descr="Database&#10;Keyword: fluent-icon;&#10;Metaphor: data, information;&#10;&#10;Used in database scenarios.">
            <a:extLst>
              <a:ext uri="{FF2B5EF4-FFF2-40B4-BE49-F238E27FC236}">
                <a16:creationId xmlns:a16="http://schemas.microsoft.com/office/drawing/2014/main" id="{805D40A5-5897-4834-3D33-1E8926F4E2C3}"/>
              </a:ext>
            </a:extLst>
          </p:cNvPr>
          <p:cNvSpPr/>
          <p:nvPr/>
        </p:nvSpPr>
        <p:spPr>
          <a:xfrm>
            <a:off x="9141456" y="692174"/>
            <a:ext cx="438303" cy="547879"/>
          </a:xfrm>
          <a:custGeom>
            <a:avLst/>
            <a:gdLst>
              <a:gd name="connsiteX0" fmla="*/ 0 w 438303"/>
              <a:gd name="connsiteY0" fmla="*/ 109576 h 547879"/>
              <a:gd name="connsiteX1" fmla="*/ 21209 w 438303"/>
              <a:gd name="connsiteY1" fmla="*/ 60821 h 547879"/>
              <a:gd name="connsiteX2" fmla="*/ 70312 w 438303"/>
              <a:gd name="connsiteY2" fmla="*/ 27874 h 547879"/>
              <a:gd name="connsiteX3" fmla="*/ 219152 w 438303"/>
              <a:gd name="connsiteY3" fmla="*/ 0 h 547879"/>
              <a:gd name="connsiteX4" fmla="*/ 367991 w 438303"/>
              <a:gd name="connsiteY4" fmla="*/ 27874 h 547879"/>
              <a:gd name="connsiteX5" fmla="*/ 417095 w 438303"/>
              <a:gd name="connsiteY5" fmla="*/ 60821 h 547879"/>
              <a:gd name="connsiteX6" fmla="*/ 438303 w 438303"/>
              <a:gd name="connsiteY6" fmla="*/ 109576 h 547879"/>
              <a:gd name="connsiteX7" fmla="*/ 438303 w 438303"/>
              <a:gd name="connsiteY7" fmla="*/ 438303 h 547879"/>
              <a:gd name="connsiteX8" fmla="*/ 417095 w 438303"/>
              <a:gd name="connsiteY8" fmla="*/ 487059 h 547879"/>
              <a:gd name="connsiteX9" fmla="*/ 367991 w 438303"/>
              <a:gd name="connsiteY9" fmla="*/ 520006 h 547879"/>
              <a:gd name="connsiteX10" fmla="*/ 219152 w 438303"/>
              <a:gd name="connsiteY10" fmla="*/ 547879 h 547879"/>
              <a:gd name="connsiteX11" fmla="*/ 70312 w 438303"/>
              <a:gd name="connsiteY11" fmla="*/ 520006 h 547879"/>
              <a:gd name="connsiteX12" fmla="*/ 21209 w 438303"/>
              <a:gd name="connsiteY12" fmla="*/ 487059 h 547879"/>
              <a:gd name="connsiteX13" fmla="*/ 0 w 438303"/>
              <a:gd name="connsiteY13" fmla="*/ 438303 h 547879"/>
              <a:gd name="connsiteX14" fmla="*/ 0 w 438303"/>
              <a:gd name="connsiteY14" fmla="*/ 109576 h 547879"/>
              <a:gd name="connsiteX15" fmla="*/ 41091 w 438303"/>
              <a:gd name="connsiteY15" fmla="*/ 109576 h 547879"/>
              <a:gd name="connsiteX16" fmla="*/ 51097 w 438303"/>
              <a:gd name="connsiteY16" fmla="*/ 130131 h 547879"/>
              <a:gd name="connsiteX17" fmla="*/ 87120 w 438303"/>
              <a:gd name="connsiteY17" fmla="*/ 153782 h 547879"/>
              <a:gd name="connsiteX18" fmla="*/ 219152 w 438303"/>
              <a:gd name="connsiteY18" fmla="*/ 178061 h 547879"/>
              <a:gd name="connsiteX19" fmla="*/ 351182 w 438303"/>
              <a:gd name="connsiteY19" fmla="*/ 153782 h 547879"/>
              <a:gd name="connsiteX20" fmla="*/ 387208 w 438303"/>
              <a:gd name="connsiteY20" fmla="*/ 130131 h 547879"/>
              <a:gd name="connsiteX21" fmla="*/ 397212 w 438303"/>
              <a:gd name="connsiteY21" fmla="*/ 109576 h 547879"/>
              <a:gd name="connsiteX22" fmla="*/ 387208 w 438303"/>
              <a:gd name="connsiteY22" fmla="*/ 89021 h 547879"/>
              <a:gd name="connsiteX23" fmla="*/ 351182 w 438303"/>
              <a:gd name="connsiteY23" fmla="*/ 65370 h 547879"/>
              <a:gd name="connsiteX24" fmla="*/ 219152 w 438303"/>
              <a:gd name="connsiteY24" fmla="*/ 41091 h 547879"/>
              <a:gd name="connsiteX25" fmla="*/ 87120 w 438303"/>
              <a:gd name="connsiteY25" fmla="*/ 65370 h 547879"/>
              <a:gd name="connsiteX26" fmla="*/ 51097 w 438303"/>
              <a:gd name="connsiteY26" fmla="*/ 89021 h 547879"/>
              <a:gd name="connsiteX27" fmla="*/ 41091 w 438303"/>
              <a:gd name="connsiteY27" fmla="*/ 109576 h 547879"/>
              <a:gd name="connsiteX28" fmla="*/ 397212 w 438303"/>
              <a:gd name="connsiteY28" fmla="*/ 175114 h 547879"/>
              <a:gd name="connsiteX29" fmla="*/ 367991 w 438303"/>
              <a:gd name="connsiteY29" fmla="*/ 191278 h 547879"/>
              <a:gd name="connsiteX30" fmla="*/ 219152 w 438303"/>
              <a:gd name="connsiteY30" fmla="*/ 219152 h 547879"/>
              <a:gd name="connsiteX31" fmla="*/ 70312 w 438303"/>
              <a:gd name="connsiteY31" fmla="*/ 191278 h 547879"/>
              <a:gd name="connsiteX32" fmla="*/ 41091 w 438303"/>
              <a:gd name="connsiteY32" fmla="*/ 175114 h 547879"/>
              <a:gd name="connsiteX33" fmla="*/ 41091 w 438303"/>
              <a:gd name="connsiteY33" fmla="*/ 438303 h 547879"/>
              <a:gd name="connsiteX34" fmla="*/ 51097 w 438303"/>
              <a:gd name="connsiteY34" fmla="*/ 458857 h 547879"/>
              <a:gd name="connsiteX35" fmla="*/ 87120 w 438303"/>
              <a:gd name="connsiteY35" fmla="*/ 482509 h 547879"/>
              <a:gd name="connsiteX36" fmla="*/ 219152 w 438303"/>
              <a:gd name="connsiteY36" fmla="*/ 506788 h 547879"/>
              <a:gd name="connsiteX37" fmla="*/ 351182 w 438303"/>
              <a:gd name="connsiteY37" fmla="*/ 482509 h 547879"/>
              <a:gd name="connsiteX38" fmla="*/ 387208 w 438303"/>
              <a:gd name="connsiteY38" fmla="*/ 458857 h 547879"/>
              <a:gd name="connsiteX39" fmla="*/ 397212 w 438303"/>
              <a:gd name="connsiteY39" fmla="*/ 438303 h 547879"/>
              <a:gd name="connsiteX40" fmla="*/ 397212 w 438303"/>
              <a:gd name="connsiteY40" fmla="*/ 175114 h 547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38303" h="547879">
                <a:moveTo>
                  <a:pt x="0" y="109576"/>
                </a:moveTo>
                <a:cubicBezTo>
                  <a:pt x="0" y="90659"/>
                  <a:pt x="8637" y="74146"/>
                  <a:pt x="21209" y="60821"/>
                </a:cubicBezTo>
                <a:cubicBezTo>
                  <a:pt x="33678" y="47606"/>
                  <a:pt x="50761" y="36638"/>
                  <a:pt x="70312" y="27874"/>
                </a:cubicBezTo>
                <a:cubicBezTo>
                  <a:pt x="109459" y="10325"/>
                  <a:pt x="162100" y="0"/>
                  <a:pt x="219152" y="0"/>
                </a:cubicBezTo>
                <a:cubicBezTo>
                  <a:pt x="276202" y="0"/>
                  <a:pt x="328843" y="10325"/>
                  <a:pt x="367991" y="27874"/>
                </a:cubicBezTo>
                <a:cubicBezTo>
                  <a:pt x="387542" y="36638"/>
                  <a:pt x="404625" y="47606"/>
                  <a:pt x="417095" y="60821"/>
                </a:cubicBezTo>
                <a:cubicBezTo>
                  <a:pt x="429666" y="74146"/>
                  <a:pt x="438303" y="90659"/>
                  <a:pt x="438303" y="109576"/>
                </a:cubicBezTo>
                <a:lnTo>
                  <a:pt x="438303" y="438303"/>
                </a:lnTo>
                <a:cubicBezTo>
                  <a:pt x="438303" y="457222"/>
                  <a:pt x="429666" y="473735"/>
                  <a:pt x="417095" y="487059"/>
                </a:cubicBezTo>
                <a:cubicBezTo>
                  <a:pt x="404625" y="500274"/>
                  <a:pt x="387542" y="511242"/>
                  <a:pt x="367991" y="520006"/>
                </a:cubicBezTo>
                <a:cubicBezTo>
                  <a:pt x="328843" y="537554"/>
                  <a:pt x="276202" y="547879"/>
                  <a:pt x="219152" y="547879"/>
                </a:cubicBezTo>
                <a:cubicBezTo>
                  <a:pt x="162100" y="547879"/>
                  <a:pt x="109459" y="537554"/>
                  <a:pt x="70312" y="520006"/>
                </a:cubicBezTo>
                <a:cubicBezTo>
                  <a:pt x="50761" y="511242"/>
                  <a:pt x="33678" y="500274"/>
                  <a:pt x="21209" y="487059"/>
                </a:cubicBezTo>
                <a:cubicBezTo>
                  <a:pt x="8637" y="473735"/>
                  <a:pt x="0" y="457222"/>
                  <a:pt x="0" y="438303"/>
                </a:cubicBezTo>
                <a:lnTo>
                  <a:pt x="0" y="109576"/>
                </a:lnTo>
                <a:close/>
                <a:moveTo>
                  <a:pt x="41091" y="109576"/>
                </a:moveTo>
                <a:cubicBezTo>
                  <a:pt x="41091" y="115244"/>
                  <a:pt x="43568" y="122152"/>
                  <a:pt x="51097" y="130131"/>
                </a:cubicBezTo>
                <a:cubicBezTo>
                  <a:pt x="58728" y="138219"/>
                  <a:pt x="70730" y="146434"/>
                  <a:pt x="87120" y="153782"/>
                </a:cubicBezTo>
                <a:cubicBezTo>
                  <a:pt x="119854" y="168456"/>
                  <a:pt x="166517" y="178061"/>
                  <a:pt x="219152" y="178061"/>
                </a:cubicBezTo>
                <a:cubicBezTo>
                  <a:pt x="271786" y="178061"/>
                  <a:pt x="318449" y="168456"/>
                  <a:pt x="351182" y="153782"/>
                </a:cubicBezTo>
                <a:cubicBezTo>
                  <a:pt x="367572" y="146434"/>
                  <a:pt x="379576" y="138219"/>
                  <a:pt x="387208" y="130131"/>
                </a:cubicBezTo>
                <a:cubicBezTo>
                  <a:pt x="394736" y="122152"/>
                  <a:pt x="397212" y="115244"/>
                  <a:pt x="397212" y="109576"/>
                </a:cubicBezTo>
                <a:cubicBezTo>
                  <a:pt x="397212" y="103908"/>
                  <a:pt x="394736" y="97000"/>
                  <a:pt x="387208" y="89021"/>
                </a:cubicBezTo>
                <a:cubicBezTo>
                  <a:pt x="379576" y="80933"/>
                  <a:pt x="367572" y="72717"/>
                  <a:pt x="351182" y="65370"/>
                </a:cubicBezTo>
                <a:cubicBezTo>
                  <a:pt x="318449" y="50696"/>
                  <a:pt x="271786" y="41091"/>
                  <a:pt x="219152" y="41091"/>
                </a:cubicBezTo>
                <a:cubicBezTo>
                  <a:pt x="166517" y="41091"/>
                  <a:pt x="119854" y="50696"/>
                  <a:pt x="87120" y="65370"/>
                </a:cubicBezTo>
                <a:cubicBezTo>
                  <a:pt x="70730" y="72717"/>
                  <a:pt x="58728" y="80933"/>
                  <a:pt x="51097" y="89021"/>
                </a:cubicBezTo>
                <a:cubicBezTo>
                  <a:pt x="43568" y="97000"/>
                  <a:pt x="41091" y="103908"/>
                  <a:pt x="41091" y="109576"/>
                </a:cubicBezTo>
                <a:close/>
                <a:moveTo>
                  <a:pt x="397212" y="175114"/>
                </a:moveTo>
                <a:cubicBezTo>
                  <a:pt x="388422" y="181151"/>
                  <a:pt x="378568" y="186537"/>
                  <a:pt x="367991" y="191278"/>
                </a:cubicBezTo>
                <a:cubicBezTo>
                  <a:pt x="328843" y="208827"/>
                  <a:pt x="276202" y="219152"/>
                  <a:pt x="219152" y="219152"/>
                </a:cubicBezTo>
                <a:cubicBezTo>
                  <a:pt x="162100" y="219152"/>
                  <a:pt x="109459" y="208827"/>
                  <a:pt x="70312" y="191278"/>
                </a:cubicBezTo>
                <a:cubicBezTo>
                  <a:pt x="59736" y="186537"/>
                  <a:pt x="49883" y="181151"/>
                  <a:pt x="41091" y="175114"/>
                </a:cubicBezTo>
                <a:lnTo>
                  <a:pt x="41091" y="438303"/>
                </a:lnTo>
                <a:cubicBezTo>
                  <a:pt x="41091" y="443971"/>
                  <a:pt x="43568" y="450880"/>
                  <a:pt x="51097" y="458857"/>
                </a:cubicBezTo>
                <a:cubicBezTo>
                  <a:pt x="58728" y="466946"/>
                  <a:pt x="70730" y="475162"/>
                  <a:pt x="87120" y="482509"/>
                </a:cubicBezTo>
                <a:cubicBezTo>
                  <a:pt x="119854" y="497184"/>
                  <a:pt x="166517" y="506788"/>
                  <a:pt x="219152" y="506788"/>
                </a:cubicBezTo>
                <a:cubicBezTo>
                  <a:pt x="271786" y="506788"/>
                  <a:pt x="318449" y="497184"/>
                  <a:pt x="351182" y="482509"/>
                </a:cubicBezTo>
                <a:cubicBezTo>
                  <a:pt x="367572" y="475162"/>
                  <a:pt x="379576" y="466946"/>
                  <a:pt x="387208" y="458857"/>
                </a:cubicBezTo>
                <a:cubicBezTo>
                  <a:pt x="394736" y="450880"/>
                  <a:pt x="397212" y="443971"/>
                  <a:pt x="397212" y="438303"/>
                </a:cubicBezTo>
                <a:lnTo>
                  <a:pt x="397212" y="175114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3600000" scaled="0"/>
          </a:gra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Graphic 85" descr="Data Scatter&#10;Keyword: fluent-icon;&#10;Metaphor: data viz, visualization, chart, map, trending, graph.&#10;&#10;Used in data viz scenarios.">
            <a:extLst>
              <a:ext uri="{FF2B5EF4-FFF2-40B4-BE49-F238E27FC236}">
                <a16:creationId xmlns:a16="http://schemas.microsoft.com/office/drawing/2014/main" id="{ADF69617-CC6F-02AE-1942-EEC803E167E2}"/>
              </a:ext>
            </a:extLst>
          </p:cNvPr>
          <p:cNvSpPr/>
          <p:nvPr/>
        </p:nvSpPr>
        <p:spPr>
          <a:xfrm>
            <a:off x="10046136" y="719568"/>
            <a:ext cx="493091" cy="493091"/>
          </a:xfrm>
          <a:custGeom>
            <a:avLst/>
            <a:gdLst>
              <a:gd name="connsiteX0" fmla="*/ 0 w 493091"/>
              <a:gd name="connsiteY0" fmla="*/ 20545 h 493091"/>
              <a:gd name="connsiteX1" fmla="*/ 20545 w 493091"/>
              <a:gd name="connsiteY1" fmla="*/ 0 h 493091"/>
              <a:gd name="connsiteX2" fmla="*/ 41091 w 493091"/>
              <a:gd name="connsiteY2" fmla="*/ 20545 h 493091"/>
              <a:gd name="connsiteX3" fmla="*/ 41091 w 493091"/>
              <a:gd name="connsiteY3" fmla="*/ 452000 h 493091"/>
              <a:gd name="connsiteX4" fmla="*/ 472546 w 493091"/>
              <a:gd name="connsiteY4" fmla="*/ 452000 h 493091"/>
              <a:gd name="connsiteX5" fmla="*/ 493091 w 493091"/>
              <a:gd name="connsiteY5" fmla="*/ 472546 h 493091"/>
              <a:gd name="connsiteX6" fmla="*/ 472546 w 493091"/>
              <a:gd name="connsiteY6" fmla="*/ 493091 h 493091"/>
              <a:gd name="connsiteX7" fmla="*/ 20545 w 493091"/>
              <a:gd name="connsiteY7" fmla="*/ 493091 h 493091"/>
              <a:gd name="connsiteX8" fmla="*/ 0 w 493091"/>
              <a:gd name="connsiteY8" fmla="*/ 472546 h 493091"/>
              <a:gd name="connsiteX9" fmla="*/ 0 w 493091"/>
              <a:gd name="connsiteY9" fmla="*/ 20545 h 493091"/>
              <a:gd name="connsiteX10" fmla="*/ 383515 w 493091"/>
              <a:gd name="connsiteY10" fmla="*/ 27394 h 493091"/>
              <a:gd name="connsiteX11" fmla="*/ 301334 w 493091"/>
              <a:gd name="connsiteY11" fmla="*/ 109576 h 493091"/>
              <a:gd name="connsiteX12" fmla="*/ 383515 w 493091"/>
              <a:gd name="connsiteY12" fmla="*/ 191758 h 493091"/>
              <a:gd name="connsiteX13" fmla="*/ 465697 w 493091"/>
              <a:gd name="connsiteY13" fmla="*/ 109576 h 493091"/>
              <a:gd name="connsiteX14" fmla="*/ 383515 w 493091"/>
              <a:gd name="connsiteY14" fmla="*/ 27394 h 493091"/>
              <a:gd name="connsiteX15" fmla="*/ 342424 w 493091"/>
              <a:gd name="connsiteY15" fmla="*/ 109576 h 493091"/>
              <a:gd name="connsiteX16" fmla="*/ 383515 w 493091"/>
              <a:gd name="connsiteY16" fmla="*/ 68485 h 493091"/>
              <a:gd name="connsiteX17" fmla="*/ 424606 w 493091"/>
              <a:gd name="connsiteY17" fmla="*/ 109576 h 493091"/>
              <a:gd name="connsiteX18" fmla="*/ 383515 w 493091"/>
              <a:gd name="connsiteY18" fmla="*/ 150667 h 493091"/>
              <a:gd name="connsiteX19" fmla="*/ 342424 w 493091"/>
              <a:gd name="connsiteY19" fmla="*/ 109576 h 493091"/>
              <a:gd name="connsiteX20" fmla="*/ 82182 w 493091"/>
              <a:gd name="connsiteY20" fmla="*/ 164364 h 493091"/>
              <a:gd name="connsiteX21" fmla="*/ 164364 w 493091"/>
              <a:gd name="connsiteY21" fmla="*/ 82182 h 493091"/>
              <a:gd name="connsiteX22" fmla="*/ 246546 w 493091"/>
              <a:gd name="connsiteY22" fmla="*/ 164364 h 493091"/>
              <a:gd name="connsiteX23" fmla="*/ 164364 w 493091"/>
              <a:gd name="connsiteY23" fmla="*/ 246546 h 493091"/>
              <a:gd name="connsiteX24" fmla="*/ 82182 w 493091"/>
              <a:gd name="connsiteY24" fmla="*/ 164364 h 493091"/>
              <a:gd name="connsiteX25" fmla="*/ 164364 w 493091"/>
              <a:gd name="connsiteY25" fmla="*/ 123273 h 493091"/>
              <a:gd name="connsiteX26" fmla="*/ 123273 w 493091"/>
              <a:gd name="connsiteY26" fmla="*/ 164364 h 493091"/>
              <a:gd name="connsiteX27" fmla="*/ 164364 w 493091"/>
              <a:gd name="connsiteY27" fmla="*/ 205455 h 493091"/>
              <a:gd name="connsiteX28" fmla="*/ 205455 w 493091"/>
              <a:gd name="connsiteY28" fmla="*/ 164364 h 493091"/>
              <a:gd name="connsiteX29" fmla="*/ 164364 w 493091"/>
              <a:gd name="connsiteY29" fmla="*/ 123273 h 493091"/>
              <a:gd name="connsiteX30" fmla="*/ 328728 w 493091"/>
              <a:gd name="connsiteY30" fmla="*/ 246546 h 493091"/>
              <a:gd name="connsiteX31" fmla="*/ 246546 w 493091"/>
              <a:gd name="connsiteY31" fmla="*/ 328728 h 493091"/>
              <a:gd name="connsiteX32" fmla="*/ 328728 w 493091"/>
              <a:gd name="connsiteY32" fmla="*/ 410909 h 493091"/>
              <a:gd name="connsiteX33" fmla="*/ 410909 w 493091"/>
              <a:gd name="connsiteY33" fmla="*/ 328728 h 493091"/>
              <a:gd name="connsiteX34" fmla="*/ 328728 w 493091"/>
              <a:gd name="connsiteY34" fmla="*/ 246546 h 493091"/>
              <a:gd name="connsiteX35" fmla="*/ 287637 w 493091"/>
              <a:gd name="connsiteY35" fmla="*/ 328728 h 493091"/>
              <a:gd name="connsiteX36" fmla="*/ 328728 w 493091"/>
              <a:gd name="connsiteY36" fmla="*/ 287637 h 493091"/>
              <a:gd name="connsiteX37" fmla="*/ 369818 w 493091"/>
              <a:gd name="connsiteY37" fmla="*/ 328728 h 493091"/>
              <a:gd name="connsiteX38" fmla="*/ 328728 w 493091"/>
              <a:gd name="connsiteY38" fmla="*/ 369818 h 493091"/>
              <a:gd name="connsiteX39" fmla="*/ 287637 w 493091"/>
              <a:gd name="connsiteY39" fmla="*/ 328728 h 493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493091" h="493091">
                <a:moveTo>
                  <a:pt x="0" y="20545"/>
                </a:moveTo>
                <a:cubicBezTo>
                  <a:pt x="0" y="9199"/>
                  <a:pt x="9199" y="0"/>
                  <a:pt x="20545" y="0"/>
                </a:cubicBezTo>
                <a:cubicBezTo>
                  <a:pt x="31892" y="0"/>
                  <a:pt x="41091" y="9199"/>
                  <a:pt x="41091" y="20545"/>
                </a:cubicBezTo>
                <a:lnTo>
                  <a:pt x="41091" y="452000"/>
                </a:lnTo>
                <a:lnTo>
                  <a:pt x="472546" y="452000"/>
                </a:lnTo>
                <a:cubicBezTo>
                  <a:pt x="483892" y="452000"/>
                  <a:pt x="493091" y="461199"/>
                  <a:pt x="493091" y="472546"/>
                </a:cubicBezTo>
                <a:cubicBezTo>
                  <a:pt x="493091" y="483892"/>
                  <a:pt x="483892" y="493091"/>
                  <a:pt x="472546" y="493091"/>
                </a:cubicBezTo>
                <a:lnTo>
                  <a:pt x="20545" y="493091"/>
                </a:lnTo>
                <a:cubicBezTo>
                  <a:pt x="9199" y="493091"/>
                  <a:pt x="0" y="483892"/>
                  <a:pt x="0" y="472546"/>
                </a:cubicBezTo>
                <a:lnTo>
                  <a:pt x="0" y="20545"/>
                </a:lnTo>
                <a:close/>
                <a:moveTo>
                  <a:pt x="383515" y="27394"/>
                </a:moveTo>
                <a:cubicBezTo>
                  <a:pt x="338126" y="27394"/>
                  <a:pt x="301334" y="64188"/>
                  <a:pt x="301334" y="109576"/>
                </a:cubicBezTo>
                <a:cubicBezTo>
                  <a:pt x="301334" y="154964"/>
                  <a:pt x="338126" y="191758"/>
                  <a:pt x="383515" y="191758"/>
                </a:cubicBezTo>
                <a:cubicBezTo>
                  <a:pt x="428904" y="191758"/>
                  <a:pt x="465697" y="154964"/>
                  <a:pt x="465697" y="109576"/>
                </a:cubicBezTo>
                <a:cubicBezTo>
                  <a:pt x="465697" y="64188"/>
                  <a:pt x="428904" y="27394"/>
                  <a:pt x="383515" y="27394"/>
                </a:cubicBezTo>
                <a:close/>
                <a:moveTo>
                  <a:pt x="342424" y="109576"/>
                </a:moveTo>
                <a:cubicBezTo>
                  <a:pt x="342424" y="86882"/>
                  <a:pt x="360822" y="68485"/>
                  <a:pt x="383515" y="68485"/>
                </a:cubicBezTo>
                <a:cubicBezTo>
                  <a:pt x="406209" y="68485"/>
                  <a:pt x="424606" y="86882"/>
                  <a:pt x="424606" y="109576"/>
                </a:cubicBezTo>
                <a:cubicBezTo>
                  <a:pt x="424606" y="132270"/>
                  <a:pt x="406209" y="150667"/>
                  <a:pt x="383515" y="150667"/>
                </a:cubicBezTo>
                <a:cubicBezTo>
                  <a:pt x="360822" y="150667"/>
                  <a:pt x="342424" y="132270"/>
                  <a:pt x="342424" y="109576"/>
                </a:cubicBezTo>
                <a:close/>
                <a:moveTo>
                  <a:pt x="82182" y="164364"/>
                </a:moveTo>
                <a:cubicBezTo>
                  <a:pt x="82182" y="118976"/>
                  <a:pt x="118976" y="82182"/>
                  <a:pt x="164364" y="82182"/>
                </a:cubicBezTo>
                <a:cubicBezTo>
                  <a:pt x="209753" y="82182"/>
                  <a:pt x="246546" y="118976"/>
                  <a:pt x="246546" y="164364"/>
                </a:cubicBezTo>
                <a:cubicBezTo>
                  <a:pt x="246546" y="209753"/>
                  <a:pt x="209753" y="246546"/>
                  <a:pt x="164364" y="246546"/>
                </a:cubicBezTo>
                <a:cubicBezTo>
                  <a:pt x="118976" y="246546"/>
                  <a:pt x="82182" y="209753"/>
                  <a:pt x="82182" y="164364"/>
                </a:cubicBezTo>
                <a:close/>
                <a:moveTo>
                  <a:pt x="164364" y="123273"/>
                </a:moveTo>
                <a:cubicBezTo>
                  <a:pt x="141670" y="123273"/>
                  <a:pt x="123273" y="141670"/>
                  <a:pt x="123273" y="164364"/>
                </a:cubicBezTo>
                <a:cubicBezTo>
                  <a:pt x="123273" y="187058"/>
                  <a:pt x="141670" y="205455"/>
                  <a:pt x="164364" y="205455"/>
                </a:cubicBezTo>
                <a:cubicBezTo>
                  <a:pt x="187058" y="205455"/>
                  <a:pt x="205455" y="187058"/>
                  <a:pt x="205455" y="164364"/>
                </a:cubicBezTo>
                <a:cubicBezTo>
                  <a:pt x="205455" y="141670"/>
                  <a:pt x="187058" y="123273"/>
                  <a:pt x="164364" y="123273"/>
                </a:cubicBezTo>
                <a:close/>
                <a:moveTo>
                  <a:pt x="328728" y="246546"/>
                </a:moveTo>
                <a:cubicBezTo>
                  <a:pt x="283338" y="246546"/>
                  <a:pt x="246546" y="283338"/>
                  <a:pt x="246546" y="328728"/>
                </a:cubicBezTo>
                <a:cubicBezTo>
                  <a:pt x="246546" y="374117"/>
                  <a:pt x="283338" y="410909"/>
                  <a:pt x="328728" y="410909"/>
                </a:cubicBezTo>
                <a:cubicBezTo>
                  <a:pt x="374117" y="410909"/>
                  <a:pt x="410909" y="374117"/>
                  <a:pt x="410909" y="328728"/>
                </a:cubicBezTo>
                <a:cubicBezTo>
                  <a:pt x="410909" y="283338"/>
                  <a:pt x="374117" y="246546"/>
                  <a:pt x="328728" y="246546"/>
                </a:cubicBezTo>
                <a:close/>
                <a:moveTo>
                  <a:pt x="287637" y="328728"/>
                </a:moveTo>
                <a:cubicBezTo>
                  <a:pt x="287637" y="306034"/>
                  <a:pt x="306034" y="287637"/>
                  <a:pt x="328728" y="287637"/>
                </a:cubicBezTo>
                <a:cubicBezTo>
                  <a:pt x="351421" y="287637"/>
                  <a:pt x="369818" y="306034"/>
                  <a:pt x="369818" y="328728"/>
                </a:cubicBezTo>
                <a:cubicBezTo>
                  <a:pt x="369818" y="351421"/>
                  <a:pt x="351421" y="369818"/>
                  <a:pt x="328728" y="369818"/>
                </a:cubicBezTo>
                <a:cubicBezTo>
                  <a:pt x="306034" y="369818"/>
                  <a:pt x="287637" y="351421"/>
                  <a:pt x="287637" y="328728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3600000" scaled="0"/>
          </a:gra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8" name="Graphic 89" descr="Desktop Signal&#10;Keyword: fluent-icon;&#10;Metaphor: monitor, office, tower, pc, large screen;&#10;&#10;Used to represent stationary work stations, large screen devices, office, and actions in general computer scenarios.">
            <a:extLst>
              <a:ext uri="{FF2B5EF4-FFF2-40B4-BE49-F238E27FC236}">
                <a16:creationId xmlns:a16="http://schemas.microsoft.com/office/drawing/2014/main" id="{CEC83867-7F5F-67E1-F1EF-AF438B42DA86}"/>
              </a:ext>
            </a:extLst>
          </p:cNvPr>
          <p:cNvSpPr/>
          <p:nvPr/>
        </p:nvSpPr>
        <p:spPr>
          <a:xfrm>
            <a:off x="10958253" y="678477"/>
            <a:ext cx="588970" cy="561587"/>
          </a:xfrm>
          <a:custGeom>
            <a:avLst/>
            <a:gdLst>
              <a:gd name="connsiteX0" fmla="*/ 356121 w 588970"/>
              <a:gd name="connsiteY0" fmla="*/ 0 h 561587"/>
              <a:gd name="connsiteX1" fmla="*/ 341118 w 588970"/>
              <a:gd name="connsiteY1" fmla="*/ 476 h 561587"/>
              <a:gd name="connsiteX2" fmla="*/ 321920 w 588970"/>
              <a:gd name="connsiteY2" fmla="*/ 22286 h 561587"/>
              <a:gd name="connsiteX3" fmla="*/ 343731 w 588970"/>
              <a:gd name="connsiteY3" fmla="*/ 41484 h 561587"/>
              <a:gd name="connsiteX4" fmla="*/ 356121 w 588970"/>
              <a:gd name="connsiteY4" fmla="*/ 41091 h 561587"/>
              <a:gd name="connsiteX5" fmla="*/ 547879 w 588970"/>
              <a:gd name="connsiteY5" fmla="*/ 232849 h 561587"/>
              <a:gd name="connsiteX6" fmla="*/ 547485 w 588970"/>
              <a:gd name="connsiteY6" fmla="*/ 245239 h 561587"/>
              <a:gd name="connsiteX7" fmla="*/ 566685 w 588970"/>
              <a:gd name="connsiteY7" fmla="*/ 267050 h 561587"/>
              <a:gd name="connsiteX8" fmla="*/ 588493 w 588970"/>
              <a:gd name="connsiteY8" fmla="*/ 247852 h 561587"/>
              <a:gd name="connsiteX9" fmla="*/ 588970 w 588970"/>
              <a:gd name="connsiteY9" fmla="*/ 232849 h 561587"/>
              <a:gd name="connsiteX10" fmla="*/ 356121 w 588970"/>
              <a:gd name="connsiteY10" fmla="*/ 0 h 561587"/>
              <a:gd name="connsiteX11" fmla="*/ 356121 w 588970"/>
              <a:gd name="connsiteY11" fmla="*/ 68485 h 561587"/>
              <a:gd name="connsiteX12" fmla="*/ 340493 w 588970"/>
              <a:gd name="connsiteY12" fmla="*/ 69220 h 561587"/>
              <a:gd name="connsiteX13" fmla="*/ 321969 w 588970"/>
              <a:gd name="connsiteY13" fmla="*/ 91606 h 561587"/>
              <a:gd name="connsiteX14" fmla="*/ 344356 w 588970"/>
              <a:gd name="connsiteY14" fmla="*/ 110128 h 561587"/>
              <a:gd name="connsiteX15" fmla="*/ 356121 w 588970"/>
              <a:gd name="connsiteY15" fmla="*/ 109576 h 561587"/>
              <a:gd name="connsiteX16" fmla="*/ 479394 w 588970"/>
              <a:gd name="connsiteY16" fmla="*/ 232849 h 561587"/>
              <a:gd name="connsiteX17" fmla="*/ 478841 w 588970"/>
              <a:gd name="connsiteY17" fmla="*/ 244614 h 561587"/>
              <a:gd name="connsiteX18" fmla="*/ 497365 w 588970"/>
              <a:gd name="connsiteY18" fmla="*/ 267001 h 561587"/>
              <a:gd name="connsiteX19" fmla="*/ 519751 w 588970"/>
              <a:gd name="connsiteY19" fmla="*/ 248477 h 561587"/>
              <a:gd name="connsiteX20" fmla="*/ 520485 w 588970"/>
              <a:gd name="connsiteY20" fmla="*/ 232849 h 561587"/>
              <a:gd name="connsiteX21" fmla="*/ 356121 w 588970"/>
              <a:gd name="connsiteY21" fmla="*/ 68485 h 561587"/>
              <a:gd name="connsiteX22" fmla="*/ 356121 w 588970"/>
              <a:gd name="connsiteY22" fmla="*/ 136970 h 561587"/>
              <a:gd name="connsiteX23" fmla="*/ 338713 w 588970"/>
              <a:gd name="connsiteY23" fmla="*/ 138550 h 561587"/>
              <a:gd name="connsiteX24" fmla="*/ 322216 w 588970"/>
              <a:gd name="connsiteY24" fmla="*/ 162469 h 561587"/>
              <a:gd name="connsiteX25" fmla="*/ 346136 w 588970"/>
              <a:gd name="connsiteY25" fmla="*/ 178965 h 561587"/>
              <a:gd name="connsiteX26" fmla="*/ 356121 w 588970"/>
              <a:gd name="connsiteY26" fmla="*/ 178061 h 561587"/>
              <a:gd name="connsiteX27" fmla="*/ 410909 w 588970"/>
              <a:gd name="connsiteY27" fmla="*/ 232849 h 561587"/>
              <a:gd name="connsiteX28" fmla="*/ 410005 w 588970"/>
              <a:gd name="connsiteY28" fmla="*/ 242834 h 561587"/>
              <a:gd name="connsiteX29" fmla="*/ 426502 w 588970"/>
              <a:gd name="connsiteY29" fmla="*/ 266754 h 561587"/>
              <a:gd name="connsiteX30" fmla="*/ 450420 w 588970"/>
              <a:gd name="connsiteY30" fmla="*/ 250258 h 561587"/>
              <a:gd name="connsiteX31" fmla="*/ 452000 w 588970"/>
              <a:gd name="connsiteY31" fmla="*/ 232849 h 561587"/>
              <a:gd name="connsiteX32" fmla="*/ 356121 w 588970"/>
              <a:gd name="connsiteY32" fmla="*/ 136970 h 561587"/>
              <a:gd name="connsiteX33" fmla="*/ 298887 w 588970"/>
              <a:gd name="connsiteY33" fmla="*/ 41091 h 561587"/>
              <a:gd name="connsiteX34" fmla="*/ 61636 w 588970"/>
              <a:gd name="connsiteY34" fmla="*/ 41091 h 561587"/>
              <a:gd name="connsiteX35" fmla="*/ 57416 w 588970"/>
              <a:gd name="connsiteY35" fmla="*/ 41233 h 561587"/>
              <a:gd name="connsiteX36" fmla="*/ 0 w 588970"/>
              <a:gd name="connsiteY36" fmla="*/ 102727 h 561587"/>
              <a:gd name="connsiteX37" fmla="*/ 0 w 588970"/>
              <a:gd name="connsiteY37" fmla="*/ 390427 h 561587"/>
              <a:gd name="connsiteX38" fmla="*/ 142 w 588970"/>
              <a:gd name="connsiteY38" fmla="*/ 394646 h 561587"/>
              <a:gd name="connsiteX39" fmla="*/ 61636 w 588970"/>
              <a:gd name="connsiteY39" fmla="*/ 452063 h 561587"/>
              <a:gd name="connsiteX40" fmla="*/ 178033 w 588970"/>
              <a:gd name="connsiteY40" fmla="*/ 452055 h 561587"/>
              <a:gd name="connsiteX41" fmla="*/ 178033 w 588970"/>
              <a:gd name="connsiteY41" fmla="*/ 520485 h 561587"/>
              <a:gd name="connsiteX42" fmla="*/ 130121 w 588970"/>
              <a:gd name="connsiteY42" fmla="*/ 520496 h 561587"/>
              <a:gd name="connsiteX43" fmla="*/ 127333 w 588970"/>
              <a:gd name="connsiteY43" fmla="*/ 520685 h 561587"/>
              <a:gd name="connsiteX44" fmla="*/ 109576 w 588970"/>
              <a:gd name="connsiteY44" fmla="*/ 541042 h 561587"/>
              <a:gd name="connsiteX45" fmla="*/ 130121 w 588970"/>
              <a:gd name="connsiteY45" fmla="*/ 561587 h 561587"/>
              <a:gd name="connsiteX46" fmla="*/ 417758 w 588970"/>
              <a:gd name="connsiteY46" fmla="*/ 561587 h 561587"/>
              <a:gd name="connsiteX47" fmla="*/ 420547 w 588970"/>
              <a:gd name="connsiteY47" fmla="*/ 561401 h 561587"/>
              <a:gd name="connsiteX48" fmla="*/ 438303 w 588970"/>
              <a:gd name="connsiteY48" fmla="*/ 541042 h 561587"/>
              <a:gd name="connsiteX49" fmla="*/ 417758 w 588970"/>
              <a:gd name="connsiteY49" fmla="*/ 520496 h 561587"/>
              <a:gd name="connsiteX50" fmla="*/ 369791 w 588970"/>
              <a:gd name="connsiteY50" fmla="*/ 520485 h 561587"/>
              <a:gd name="connsiteX51" fmla="*/ 369791 w 588970"/>
              <a:gd name="connsiteY51" fmla="*/ 452055 h 561587"/>
              <a:gd name="connsiteX52" fmla="*/ 486210 w 588970"/>
              <a:gd name="connsiteY52" fmla="*/ 452063 h 561587"/>
              <a:gd name="connsiteX53" fmla="*/ 490431 w 588970"/>
              <a:gd name="connsiteY53" fmla="*/ 451921 h 561587"/>
              <a:gd name="connsiteX54" fmla="*/ 547846 w 588970"/>
              <a:gd name="connsiteY54" fmla="*/ 390427 h 561587"/>
              <a:gd name="connsiteX55" fmla="*/ 547846 w 588970"/>
              <a:gd name="connsiteY55" fmla="*/ 290075 h 561587"/>
              <a:gd name="connsiteX56" fmla="*/ 533643 w 588970"/>
              <a:gd name="connsiteY56" fmla="*/ 280005 h 561587"/>
              <a:gd name="connsiteX57" fmla="*/ 506755 w 588970"/>
              <a:gd name="connsiteY57" fmla="*/ 293926 h 561587"/>
              <a:gd name="connsiteX58" fmla="*/ 506755 w 588970"/>
              <a:gd name="connsiteY58" fmla="*/ 390427 h 561587"/>
              <a:gd name="connsiteX59" fmla="*/ 506569 w 588970"/>
              <a:gd name="connsiteY59" fmla="*/ 393213 h 561587"/>
              <a:gd name="connsiteX60" fmla="*/ 486210 w 588970"/>
              <a:gd name="connsiteY60" fmla="*/ 410972 h 561587"/>
              <a:gd name="connsiteX61" fmla="*/ 61636 w 588970"/>
              <a:gd name="connsiteY61" fmla="*/ 410972 h 561587"/>
              <a:gd name="connsiteX62" fmla="*/ 58849 w 588970"/>
              <a:gd name="connsiteY62" fmla="*/ 410783 h 561587"/>
              <a:gd name="connsiteX63" fmla="*/ 41091 w 588970"/>
              <a:gd name="connsiteY63" fmla="*/ 390427 h 561587"/>
              <a:gd name="connsiteX64" fmla="*/ 41091 w 588970"/>
              <a:gd name="connsiteY64" fmla="*/ 102727 h 561587"/>
              <a:gd name="connsiteX65" fmla="*/ 41279 w 588970"/>
              <a:gd name="connsiteY65" fmla="*/ 99939 h 561587"/>
              <a:gd name="connsiteX66" fmla="*/ 61636 w 588970"/>
              <a:gd name="connsiteY66" fmla="*/ 82182 h 561587"/>
              <a:gd name="connsiteX67" fmla="*/ 295066 w 588970"/>
              <a:gd name="connsiteY67" fmla="*/ 82182 h 561587"/>
              <a:gd name="connsiteX68" fmla="*/ 308979 w 588970"/>
              <a:gd name="connsiteY68" fmla="*/ 55340 h 561587"/>
              <a:gd name="connsiteX69" fmla="*/ 298887 w 588970"/>
              <a:gd name="connsiteY69" fmla="*/ 41091 h 561587"/>
              <a:gd name="connsiteX70" fmla="*/ 328673 w 588970"/>
              <a:gd name="connsiteY70" fmla="*/ 452055 h 561587"/>
              <a:gd name="connsiteX71" fmla="*/ 328700 w 588970"/>
              <a:gd name="connsiteY71" fmla="*/ 520496 h 561587"/>
              <a:gd name="connsiteX72" fmla="*/ 219124 w 588970"/>
              <a:gd name="connsiteY72" fmla="*/ 520496 h 561587"/>
              <a:gd name="connsiteX73" fmla="*/ 219097 w 588970"/>
              <a:gd name="connsiteY73" fmla="*/ 452055 h 561587"/>
              <a:gd name="connsiteX74" fmla="*/ 328673 w 588970"/>
              <a:gd name="connsiteY74" fmla="*/ 452055 h 561587"/>
              <a:gd name="connsiteX75" fmla="*/ 383515 w 588970"/>
              <a:gd name="connsiteY75" fmla="*/ 232849 h 561587"/>
              <a:gd name="connsiteX76" fmla="*/ 356121 w 588970"/>
              <a:gd name="connsiteY76" fmla="*/ 260243 h 561587"/>
              <a:gd name="connsiteX77" fmla="*/ 328728 w 588970"/>
              <a:gd name="connsiteY77" fmla="*/ 232849 h 561587"/>
              <a:gd name="connsiteX78" fmla="*/ 356121 w 588970"/>
              <a:gd name="connsiteY78" fmla="*/ 205455 h 561587"/>
              <a:gd name="connsiteX79" fmla="*/ 383515 w 588970"/>
              <a:gd name="connsiteY79" fmla="*/ 232849 h 561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588970" h="561587">
                <a:moveTo>
                  <a:pt x="356121" y="0"/>
                </a:moveTo>
                <a:cubicBezTo>
                  <a:pt x="351084" y="0"/>
                  <a:pt x="346082" y="160"/>
                  <a:pt x="341118" y="476"/>
                </a:cubicBezTo>
                <a:cubicBezTo>
                  <a:pt x="329796" y="1197"/>
                  <a:pt x="321200" y="10962"/>
                  <a:pt x="321920" y="22286"/>
                </a:cubicBezTo>
                <a:cubicBezTo>
                  <a:pt x="322641" y="33610"/>
                  <a:pt x="332407" y="42205"/>
                  <a:pt x="343731" y="41484"/>
                </a:cubicBezTo>
                <a:cubicBezTo>
                  <a:pt x="347824" y="41224"/>
                  <a:pt x="351955" y="41091"/>
                  <a:pt x="356121" y="41091"/>
                </a:cubicBezTo>
                <a:cubicBezTo>
                  <a:pt x="462026" y="41091"/>
                  <a:pt x="547879" y="126944"/>
                  <a:pt x="547879" y="232849"/>
                </a:cubicBezTo>
                <a:cubicBezTo>
                  <a:pt x="547879" y="237015"/>
                  <a:pt x="547748" y="241146"/>
                  <a:pt x="547485" y="245239"/>
                </a:cubicBezTo>
                <a:cubicBezTo>
                  <a:pt x="546764" y="256564"/>
                  <a:pt x="555360" y="266330"/>
                  <a:pt x="566685" y="267050"/>
                </a:cubicBezTo>
                <a:cubicBezTo>
                  <a:pt x="578007" y="267770"/>
                  <a:pt x="587773" y="259174"/>
                  <a:pt x="588493" y="247852"/>
                </a:cubicBezTo>
                <a:cubicBezTo>
                  <a:pt x="588811" y="242889"/>
                  <a:pt x="588970" y="237886"/>
                  <a:pt x="588970" y="232849"/>
                </a:cubicBezTo>
                <a:cubicBezTo>
                  <a:pt x="588970" y="104250"/>
                  <a:pt x="484720" y="0"/>
                  <a:pt x="356121" y="0"/>
                </a:cubicBezTo>
                <a:close/>
                <a:moveTo>
                  <a:pt x="356121" y="68485"/>
                </a:moveTo>
                <a:cubicBezTo>
                  <a:pt x="350856" y="68485"/>
                  <a:pt x="345641" y="68733"/>
                  <a:pt x="340493" y="69220"/>
                </a:cubicBezTo>
                <a:cubicBezTo>
                  <a:pt x="329196" y="70287"/>
                  <a:pt x="320904" y="80310"/>
                  <a:pt x="321969" y="91606"/>
                </a:cubicBezTo>
                <a:cubicBezTo>
                  <a:pt x="323038" y="102903"/>
                  <a:pt x="333061" y="111196"/>
                  <a:pt x="344356" y="110128"/>
                </a:cubicBezTo>
                <a:cubicBezTo>
                  <a:pt x="348224" y="109763"/>
                  <a:pt x="352147" y="109576"/>
                  <a:pt x="356121" y="109576"/>
                </a:cubicBezTo>
                <a:cubicBezTo>
                  <a:pt x="424204" y="109576"/>
                  <a:pt x="479394" y="164767"/>
                  <a:pt x="479394" y="232849"/>
                </a:cubicBezTo>
                <a:cubicBezTo>
                  <a:pt x="479394" y="236824"/>
                  <a:pt x="479208" y="240746"/>
                  <a:pt x="478841" y="244614"/>
                </a:cubicBezTo>
                <a:cubicBezTo>
                  <a:pt x="477775" y="255909"/>
                  <a:pt x="486067" y="265932"/>
                  <a:pt x="497365" y="267001"/>
                </a:cubicBezTo>
                <a:cubicBezTo>
                  <a:pt x="508659" y="268066"/>
                  <a:pt x="518683" y="259774"/>
                  <a:pt x="519751" y="248477"/>
                </a:cubicBezTo>
                <a:cubicBezTo>
                  <a:pt x="520236" y="243330"/>
                  <a:pt x="520485" y="238114"/>
                  <a:pt x="520485" y="232849"/>
                </a:cubicBezTo>
                <a:cubicBezTo>
                  <a:pt x="520485" y="142073"/>
                  <a:pt x="446897" y="68485"/>
                  <a:pt x="356121" y="68485"/>
                </a:cubicBezTo>
                <a:close/>
                <a:moveTo>
                  <a:pt x="356121" y="136970"/>
                </a:moveTo>
                <a:cubicBezTo>
                  <a:pt x="350193" y="136970"/>
                  <a:pt x="344372" y="137510"/>
                  <a:pt x="338713" y="138550"/>
                </a:cubicBezTo>
                <a:cubicBezTo>
                  <a:pt x="327552" y="140600"/>
                  <a:pt x="320167" y="151309"/>
                  <a:pt x="322216" y="162469"/>
                </a:cubicBezTo>
                <a:cubicBezTo>
                  <a:pt x="324268" y="173629"/>
                  <a:pt x="334976" y="181015"/>
                  <a:pt x="346136" y="178965"/>
                </a:cubicBezTo>
                <a:cubicBezTo>
                  <a:pt x="349358" y="178373"/>
                  <a:pt x="352694" y="178061"/>
                  <a:pt x="356121" y="178061"/>
                </a:cubicBezTo>
                <a:cubicBezTo>
                  <a:pt x="386381" y="178061"/>
                  <a:pt x="410909" y="202590"/>
                  <a:pt x="410909" y="232849"/>
                </a:cubicBezTo>
                <a:cubicBezTo>
                  <a:pt x="410909" y="236276"/>
                  <a:pt x="410597" y="239612"/>
                  <a:pt x="410005" y="242834"/>
                </a:cubicBezTo>
                <a:cubicBezTo>
                  <a:pt x="407956" y="253994"/>
                  <a:pt x="415342" y="264702"/>
                  <a:pt x="426502" y="266754"/>
                </a:cubicBezTo>
                <a:cubicBezTo>
                  <a:pt x="437662" y="268803"/>
                  <a:pt x="448371" y="261418"/>
                  <a:pt x="450420" y="250258"/>
                </a:cubicBezTo>
                <a:cubicBezTo>
                  <a:pt x="451461" y="244598"/>
                  <a:pt x="452000" y="238777"/>
                  <a:pt x="452000" y="232849"/>
                </a:cubicBezTo>
                <a:cubicBezTo>
                  <a:pt x="452000" y="179896"/>
                  <a:pt x="409074" y="136970"/>
                  <a:pt x="356121" y="136970"/>
                </a:cubicBezTo>
                <a:close/>
                <a:moveTo>
                  <a:pt x="298887" y="41091"/>
                </a:moveTo>
                <a:lnTo>
                  <a:pt x="61636" y="41091"/>
                </a:lnTo>
                <a:lnTo>
                  <a:pt x="57416" y="41233"/>
                </a:lnTo>
                <a:cubicBezTo>
                  <a:pt x="25344" y="43402"/>
                  <a:pt x="0" y="70105"/>
                  <a:pt x="0" y="102727"/>
                </a:cubicBezTo>
                <a:lnTo>
                  <a:pt x="0" y="390427"/>
                </a:lnTo>
                <a:lnTo>
                  <a:pt x="142" y="394646"/>
                </a:lnTo>
                <a:cubicBezTo>
                  <a:pt x="2311" y="426718"/>
                  <a:pt x="29014" y="452063"/>
                  <a:pt x="61636" y="452063"/>
                </a:cubicBezTo>
                <a:lnTo>
                  <a:pt x="178033" y="452055"/>
                </a:lnTo>
                <a:lnTo>
                  <a:pt x="178033" y="520485"/>
                </a:lnTo>
                <a:lnTo>
                  <a:pt x="130121" y="520496"/>
                </a:lnTo>
                <a:lnTo>
                  <a:pt x="127333" y="520685"/>
                </a:lnTo>
                <a:cubicBezTo>
                  <a:pt x="117305" y="522044"/>
                  <a:pt x="109576" y="530640"/>
                  <a:pt x="109576" y="541042"/>
                </a:cubicBezTo>
                <a:cubicBezTo>
                  <a:pt x="109576" y="552391"/>
                  <a:pt x="118774" y="561587"/>
                  <a:pt x="130121" y="561587"/>
                </a:cubicBezTo>
                <a:lnTo>
                  <a:pt x="417758" y="561587"/>
                </a:lnTo>
                <a:lnTo>
                  <a:pt x="420547" y="561401"/>
                </a:lnTo>
                <a:cubicBezTo>
                  <a:pt x="430573" y="560039"/>
                  <a:pt x="438303" y="551443"/>
                  <a:pt x="438303" y="541042"/>
                </a:cubicBezTo>
                <a:cubicBezTo>
                  <a:pt x="438303" y="529695"/>
                  <a:pt x="429104" y="520496"/>
                  <a:pt x="417758" y="520496"/>
                </a:cubicBezTo>
                <a:lnTo>
                  <a:pt x="369791" y="520485"/>
                </a:lnTo>
                <a:lnTo>
                  <a:pt x="369791" y="452055"/>
                </a:lnTo>
                <a:lnTo>
                  <a:pt x="486210" y="452063"/>
                </a:lnTo>
                <a:lnTo>
                  <a:pt x="490431" y="451921"/>
                </a:lnTo>
                <a:cubicBezTo>
                  <a:pt x="522504" y="449751"/>
                  <a:pt x="547846" y="423048"/>
                  <a:pt x="547846" y="390427"/>
                </a:cubicBezTo>
                <a:lnTo>
                  <a:pt x="547846" y="290075"/>
                </a:lnTo>
                <a:cubicBezTo>
                  <a:pt x="542491" y="287595"/>
                  <a:pt x="537689" y="284160"/>
                  <a:pt x="533643" y="280005"/>
                </a:cubicBezTo>
                <a:cubicBezTo>
                  <a:pt x="526526" y="287305"/>
                  <a:pt x="517138" y="292299"/>
                  <a:pt x="506755" y="293926"/>
                </a:cubicBezTo>
                <a:lnTo>
                  <a:pt x="506755" y="390427"/>
                </a:lnTo>
                <a:lnTo>
                  <a:pt x="506569" y="393213"/>
                </a:lnTo>
                <a:cubicBezTo>
                  <a:pt x="505208" y="403242"/>
                  <a:pt x="496611" y="410972"/>
                  <a:pt x="486210" y="410972"/>
                </a:cubicBezTo>
                <a:lnTo>
                  <a:pt x="61636" y="410972"/>
                </a:lnTo>
                <a:lnTo>
                  <a:pt x="58849" y="410783"/>
                </a:lnTo>
                <a:cubicBezTo>
                  <a:pt x="48820" y="409425"/>
                  <a:pt x="41091" y="400828"/>
                  <a:pt x="41091" y="390427"/>
                </a:cubicBezTo>
                <a:lnTo>
                  <a:pt x="41091" y="102727"/>
                </a:lnTo>
                <a:lnTo>
                  <a:pt x="41279" y="99939"/>
                </a:lnTo>
                <a:cubicBezTo>
                  <a:pt x="42639" y="89911"/>
                  <a:pt x="51235" y="82182"/>
                  <a:pt x="61636" y="82182"/>
                </a:cubicBezTo>
                <a:lnTo>
                  <a:pt x="295066" y="82182"/>
                </a:lnTo>
                <a:cubicBezTo>
                  <a:pt x="296699" y="71820"/>
                  <a:pt x="301690" y="62447"/>
                  <a:pt x="308979" y="55340"/>
                </a:cubicBezTo>
                <a:cubicBezTo>
                  <a:pt x="304810" y="51283"/>
                  <a:pt x="301369" y="46465"/>
                  <a:pt x="298887" y="41091"/>
                </a:cubicBezTo>
                <a:close/>
                <a:moveTo>
                  <a:pt x="328673" y="452055"/>
                </a:moveTo>
                <a:lnTo>
                  <a:pt x="328700" y="520496"/>
                </a:lnTo>
                <a:lnTo>
                  <a:pt x="219124" y="520496"/>
                </a:lnTo>
                <a:lnTo>
                  <a:pt x="219097" y="452055"/>
                </a:lnTo>
                <a:lnTo>
                  <a:pt x="328673" y="452055"/>
                </a:lnTo>
                <a:close/>
                <a:moveTo>
                  <a:pt x="383515" y="232849"/>
                </a:moveTo>
                <a:cubicBezTo>
                  <a:pt x="383515" y="247978"/>
                  <a:pt x="371251" y="260243"/>
                  <a:pt x="356121" y="260243"/>
                </a:cubicBezTo>
                <a:cubicBezTo>
                  <a:pt x="340992" y="260243"/>
                  <a:pt x="328728" y="247978"/>
                  <a:pt x="328728" y="232849"/>
                </a:cubicBezTo>
                <a:cubicBezTo>
                  <a:pt x="328728" y="217720"/>
                  <a:pt x="340992" y="205455"/>
                  <a:pt x="356121" y="205455"/>
                </a:cubicBezTo>
                <a:cubicBezTo>
                  <a:pt x="371251" y="205455"/>
                  <a:pt x="383515" y="217720"/>
                  <a:pt x="383515" y="232849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3600000" scaled="0"/>
          </a:gra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9" name="Graphic 92" descr="Developer Board&#10;Keyword: fluent-icon;&#10;Metaphor: circuit, chip, device, memory, process, power, cpu;&#10;&#10;Used to represent general computer guts and processing power.">
            <a:extLst>
              <a:ext uri="{FF2B5EF4-FFF2-40B4-BE49-F238E27FC236}">
                <a16:creationId xmlns:a16="http://schemas.microsoft.com/office/drawing/2014/main" id="{BB8B8A08-5500-D85A-9D2C-5C60FA111F4C}"/>
              </a:ext>
            </a:extLst>
          </p:cNvPr>
          <p:cNvSpPr/>
          <p:nvPr/>
        </p:nvSpPr>
        <p:spPr>
          <a:xfrm>
            <a:off x="692075" y="1942053"/>
            <a:ext cx="547879" cy="547879"/>
          </a:xfrm>
          <a:custGeom>
            <a:avLst/>
            <a:gdLst>
              <a:gd name="connsiteX0" fmla="*/ 362970 w 547879"/>
              <a:gd name="connsiteY0" fmla="*/ 0 h 547879"/>
              <a:gd name="connsiteX1" fmla="*/ 383329 w 547879"/>
              <a:gd name="connsiteY1" fmla="*/ 17758 h 547879"/>
              <a:gd name="connsiteX2" fmla="*/ 383515 w 547879"/>
              <a:gd name="connsiteY2" fmla="*/ 20545 h 547879"/>
              <a:gd name="connsiteX3" fmla="*/ 383529 w 547879"/>
              <a:gd name="connsiteY3" fmla="*/ 84240 h 547879"/>
              <a:gd name="connsiteX4" fmla="*/ 463643 w 547879"/>
              <a:gd name="connsiteY4" fmla="*/ 164369 h 547879"/>
              <a:gd name="connsiteX5" fmla="*/ 527334 w 547879"/>
              <a:gd name="connsiteY5" fmla="*/ 164364 h 547879"/>
              <a:gd name="connsiteX6" fmla="*/ 547879 w 547879"/>
              <a:gd name="connsiteY6" fmla="*/ 184909 h 547879"/>
              <a:gd name="connsiteX7" fmla="*/ 530122 w 547879"/>
              <a:gd name="connsiteY7" fmla="*/ 205267 h 547879"/>
              <a:gd name="connsiteX8" fmla="*/ 527334 w 547879"/>
              <a:gd name="connsiteY8" fmla="*/ 205455 h 547879"/>
              <a:gd name="connsiteX9" fmla="*/ 465697 w 547879"/>
              <a:gd name="connsiteY9" fmla="*/ 205455 h 547879"/>
              <a:gd name="connsiteX10" fmla="*/ 465697 w 547879"/>
              <a:gd name="connsiteY10" fmla="*/ 253394 h 547879"/>
              <a:gd name="connsiteX11" fmla="*/ 527334 w 547879"/>
              <a:gd name="connsiteY11" fmla="*/ 253394 h 547879"/>
              <a:gd name="connsiteX12" fmla="*/ 547693 w 547879"/>
              <a:gd name="connsiteY12" fmla="*/ 271151 h 547879"/>
              <a:gd name="connsiteX13" fmla="*/ 547879 w 547879"/>
              <a:gd name="connsiteY13" fmla="*/ 273940 h 547879"/>
              <a:gd name="connsiteX14" fmla="*/ 530122 w 547879"/>
              <a:gd name="connsiteY14" fmla="*/ 294299 h 547879"/>
              <a:gd name="connsiteX15" fmla="*/ 527334 w 547879"/>
              <a:gd name="connsiteY15" fmla="*/ 294485 h 547879"/>
              <a:gd name="connsiteX16" fmla="*/ 465697 w 547879"/>
              <a:gd name="connsiteY16" fmla="*/ 294485 h 547879"/>
              <a:gd name="connsiteX17" fmla="*/ 465697 w 547879"/>
              <a:gd name="connsiteY17" fmla="*/ 342424 h 547879"/>
              <a:gd name="connsiteX18" fmla="*/ 527334 w 547879"/>
              <a:gd name="connsiteY18" fmla="*/ 342424 h 547879"/>
              <a:gd name="connsiteX19" fmla="*/ 547693 w 547879"/>
              <a:gd name="connsiteY19" fmla="*/ 360181 h 547879"/>
              <a:gd name="connsiteX20" fmla="*/ 547879 w 547879"/>
              <a:gd name="connsiteY20" fmla="*/ 362970 h 547879"/>
              <a:gd name="connsiteX21" fmla="*/ 530122 w 547879"/>
              <a:gd name="connsiteY21" fmla="*/ 383329 h 547879"/>
              <a:gd name="connsiteX22" fmla="*/ 527334 w 547879"/>
              <a:gd name="connsiteY22" fmla="*/ 383515 h 547879"/>
              <a:gd name="connsiteX23" fmla="*/ 463637 w 547879"/>
              <a:gd name="connsiteY23" fmla="*/ 383537 h 547879"/>
              <a:gd name="connsiteX24" fmla="*/ 383529 w 547879"/>
              <a:gd name="connsiteY24" fmla="*/ 463640 h 547879"/>
              <a:gd name="connsiteX25" fmla="*/ 383515 w 547879"/>
              <a:gd name="connsiteY25" fmla="*/ 527334 h 547879"/>
              <a:gd name="connsiteX26" fmla="*/ 362970 w 547879"/>
              <a:gd name="connsiteY26" fmla="*/ 547879 h 547879"/>
              <a:gd name="connsiteX27" fmla="*/ 342611 w 547879"/>
              <a:gd name="connsiteY27" fmla="*/ 530122 h 547879"/>
              <a:gd name="connsiteX28" fmla="*/ 342424 w 547879"/>
              <a:gd name="connsiteY28" fmla="*/ 527334 h 547879"/>
              <a:gd name="connsiteX29" fmla="*/ 342424 w 547879"/>
              <a:gd name="connsiteY29" fmla="*/ 465670 h 547879"/>
              <a:gd name="connsiteX30" fmla="*/ 294458 w 547879"/>
              <a:gd name="connsiteY30" fmla="*/ 465670 h 547879"/>
              <a:gd name="connsiteX31" fmla="*/ 294485 w 547879"/>
              <a:gd name="connsiteY31" fmla="*/ 527334 h 547879"/>
              <a:gd name="connsiteX32" fmla="*/ 276728 w 547879"/>
              <a:gd name="connsiteY32" fmla="*/ 547693 h 547879"/>
              <a:gd name="connsiteX33" fmla="*/ 273940 w 547879"/>
              <a:gd name="connsiteY33" fmla="*/ 547879 h 547879"/>
              <a:gd name="connsiteX34" fmla="*/ 253580 w 547879"/>
              <a:gd name="connsiteY34" fmla="*/ 530122 h 547879"/>
              <a:gd name="connsiteX35" fmla="*/ 253394 w 547879"/>
              <a:gd name="connsiteY35" fmla="*/ 527334 h 547879"/>
              <a:gd name="connsiteX36" fmla="*/ 253367 w 547879"/>
              <a:gd name="connsiteY36" fmla="*/ 465670 h 547879"/>
              <a:gd name="connsiteX37" fmla="*/ 205455 w 547879"/>
              <a:gd name="connsiteY37" fmla="*/ 465670 h 547879"/>
              <a:gd name="connsiteX38" fmla="*/ 205455 w 547879"/>
              <a:gd name="connsiteY38" fmla="*/ 527334 h 547879"/>
              <a:gd name="connsiteX39" fmla="*/ 187697 w 547879"/>
              <a:gd name="connsiteY39" fmla="*/ 547693 h 547879"/>
              <a:gd name="connsiteX40" fmla="*/ 184909 w 547879"/>
              <a:gd name="connsiteY40" fmla="*/ 547879 h 547879"/>
              <a:gd name="connsiteX41" fmla="*/ 164551 w 547879"/>
              <a:gd name="connsiteY41" fmla="*/ 530122 h 547879"/>
              <a:gd name="connsiteX42" fmla="*/ 164364 w 547879"/>
              <a:gd name="connsiteY42" fmla="*/ 527334 h 547879"/>
              <a:gd name="connsiteX43" fmla="*/ 164376 w 547879"/>
              <a:gd name="connsiteY43" fmla="*/ 463646 h 547879"/>
              <a:gd name="connsiteX44" fmla="*/ 84237 w 547879"/>
              <a:gd name="connsiteY44" fmla="*/ 383515 h 547879"/>
              <a:gd name="connsiteX45" fmla="*/ 20545 w 547879"/>
              <a:gd name="connsiteY45" fmla="*/ 383515 h 547879"/>
              <a:gd name="connsiteX46" fmla="*/ 0 w 547879"/>
              <a:gd name="connsiteY46" fmla="*/ 362970 h 547879"/>
              <a:gd name="connsiteX47" fmla="*/ 17758 w 547879"/>
              <a:gd name="connsiteY47" fmla="*/ 342611 h 547879"/>
              <a:gd name="connsiteX48" fmla="*/ 20545 w 547879"/>
              <a:gd name="connsiteY48" fmla="*/ 342424 h 547879"/>
              <a:gd name="connsiteX49" fmla="*/ 82182 w 547879"/>
              <a:gd name="connsiteY49" fmla="*/ 342397 h 547879"/>
              <a:gd name="connsiteX50" fmla="*/ 82182 w 547879"/>
              <a:gd name="connsiteY50" fmla="*/ 294458 h 547879"/>
              <a:gd name="connsiteX51" fmla="*/ 20545 w 547879"/>
              <a:gd name="connsiteY51" fmla="*/ 294485 h 547879"/>
              <a:gd name="connsiteX52" fmla="*/ 188 w 547879"/>
              <a:gd name="connsiteY52" fmla="*/ 276728 h 547879"/>
              <a:gd name="connsiteX53" fmla="*/ 0 w 547879"/>
              <a:gd name="connsiteY53" fmla="*/ 273940 h 547879"/>
              <a:gd name="connsiteX54" fmla="*/ 17758 w 547879"/>
              <a:gd name="connsiteY54" fmla="*/ 253580 h 547879"/>
              <a:gd name="connsiteX55" fmla="*/ 20545 w 547879"/>
              <a:gd name="connsiteY55" fmla="*/ 253394 h 547879"/>
              <a:gd name="connsiteX56" fmla="*/ 82182 w 547879"/>
              <a:gd name="connsiteY56" fmla="*/ 253367 h 547879"/>
              <a:gd name="connsiteX57" fmla="*/ 82182 w 547879"/>
              <a:gd name="connsiteY57" fmla="*/ 205427 h 547879"/>
              <a:gd name="connsiteX58" fmla="*/ 20545 w 547879"/>
              <a:gd name="connsiteY58" fmla="*/ 205455 h 547879"/>
              <a:gd name="connsiteX59" fmla="*/ 188 w 547879"/>
              <a:gd name="connsiteY59" fmla="*/ 187697 h 547879"/>
              <a:gd name="connsiteX60" fmla="*/ 0 w 547879"/>
              <a:gd name="connsiteY60" fmla="*/ 184909 h 547879"/>
              <a:gd name="connsiteX61" fmla="*/ 17758 w 547879"/>
              <a:gd name="connsiteY61" fmla="*/ 164551 h 547879"/>
              <a:gd name="connsiteX62" fmla="*/ 20545 w 547879"/>
              <a:gd name="connsiteY62" fmla="*/ 164364 h 547879"/>
              <a:gd name="connsiteX63" fmla="*/ 84242 w 547879"/>
              <a:gd name="connsiteY63" fmla="*/ 164337 h 547879"/>
              <a:gd name="connsiteX64" fmla="*/ 164376 w 547879"/>
              <a:gd name="connsiteY64" fmla="*/ 84234 h 547879"/>
              <a:gd name="connsiteX65" fmla="*/ 164364 w 547879"/>
              <a:gd name="connsiteY65" fmla="*/ 20545 h 547879"/>
              <a:gd name="connsiteX66" fmla="*/ 184909 w 547879"/>
              <a:gd name="connsiteY66" fmla="*/ 0 h 547879"/>
              <a:gd name="connsiteX67" fmla="*/ 205267 w 547879"/>
              <a:gd name="connsiteY67" fmla="*/ 17758 h 547879"/>
              <a:gd name="connsiteX68" fmla="*/ 205455 w 547879"/>
              <a:gd name="connsiteY68" fmla="*/ 20545 h 547879"/>
              <a:gd name="connsiteX69" fmla="*/ 205455 w 547879"/>
              <a:gd name="connsiteY69" fmla="*/ 82154 h 547879"/>
              <a:gd name="connsiteX70" fmla="*/ 253367 w 547879"/>
              <a:gd name="connsiteY70" fmla="*/ 82154 h 547879"/>
              <a:gd name="connsiteX71" fmla="*/ 253394 w 547879"/>
              <a:gd name="connsiteY71" fmla="*/ 20545 h 547879"/>
              <a:gd name="connsiteX72" fmla="*/ 271151 w 547879"/>
              <a:gd name="connsiteY72" fmla="*/ 188 h 547879"/>
              <a:gd name="connsiteX73" fmla="*/ 273940 w 547879"/>
              <a:gd name="connsiteY73" fmla="*/ 0 h 547879"/>
              <a:gd name="connsiteX74" fmla="*/ 294299 w 547879"/>
              <a:gd name="connsiteY74" fmla="*/ 17758 h 547879"/>
              <a:gd name="connsiteX75" fmla="*/ 294485 w 547879"/>
              <a:gd name="connsiteY75" fmla="*/ 20545 h 547879"/>
              <a:gd name="connsiteX76" fmla="*/ 294458 w 547879"/>
              <a:gd name="connsiteY76" fmla="*/ 82154 h 547879"/>
              <a:gd name="connsiteX77" fmla="*/ 342424 w 547879"/>
              <a:gd name="connsiteY77" fmla="*/ 82154 h 547879"/>
              <a:gd name="connsiteX78" fmla="*/ 342424 w 547879"/>
              <a:gd name="connsiteY78" fmla="*/ 20545 h 547879"/>
              <a:gd name="connsiteX79" fmla="*/ 357508 w 547879"/>
              <a:gd name="connsiteY79" fmla="*/ 734 h 547879"/>
              <a:gd name="connsiteX80" fmla="*/ 360181 w 547879"/>
              <a:gd name="connsiteY80" fmla="*/ 188 h 547879"/>
              <a:gd name="connsiteX81" fmla="*/ 362970 w 547879"/>
              <a:gd name="connsiteY81" fmla="*/ 0 h 547879"/>
              <a:gd name="connsiteX82" fmla="*/ 362970 w 547879"/>
              <a:gd name="connsiteY82" fmla="*/ 123273 h 547879"/>
              <a:gd name="connsiteX83" fmla="*/ 184909 w 547879"/>
              <a:gd name="connsiteY83" fmla="*/ 123273 h 547879"/>
              <a:gd name="connsiteX84" fmla="*/ 123273 w 547879"/>
              <a:gd name="connsiteY84" fmla="*/ 184909 h 547879"/>
              <a:gd name="connsiteX85" fmla="*/ 123273 w 547879"/>
              <a:gd name="connsiteY85" fmla="*/ 362970 h 547879"/>
              <a:gd name="connsiteX86" fmla="*/ 184909 w 547879"/>
              <a:gd name="connsiteY86" fmla="*/ 424606 h 547879"/>
              <a:gd name="connsiteX87" fmla="*/ 362970 w 547879"/>
              <a:gd name="connsiteY87" fmla="*/ 424606 h 547879"/>
              <a:gd name="connsiteX88" fmla="*/ 424606 w 547879"/>
              <a:gd name="connsiteY88" fmla="*/ 362970 h 547879"/>
              <a:gd name="connsiteX89" fmla="*/ 424606 w 547879"/>
              <a:gd name="connsiteY89" fmla="*/ 184909 h 547879"/>
              <a:gd name="connsiteX90" fmla="*/ 362970 w 547879"/>
              <a:gd name="connsiteY90" fmla="*/ 123273 h 547879"/>
              <a:gd name="connsiteX91" fmla="*/ 274074 w 547879"/>
              <a:gd name="connsiteY91" fmla="*/ 191893 h 547879"/>
              <a:gd name="connsiteX92" fmla="*/ 356256 w 547879"/>
              <a:gd name="connsiteY92" fmla="*/ 274074 h 547879"/>
              <a:gd name="connsiteX93" fmla="*/ 274074 w 547879"/>
              <a:gd name="connsiteY93" fmla="*/ 356256 h 547879"/>
              <a:gd name="connsiteX94" fmla="*/ 191893 w 547879"/>
              <a:gd name="connsiteY94" fmla="*/ 274074 h 547879"/>
              <a:gd name="connsiteX95" fmla="*/ 274074 w 547879"/>
              <a:gd name="connsiteY95" fmla="*/ 191893 h 547879"/>
              <a:gd name="connsiteX96" fmla="*/ 274074 w 547879"/>
              <a:gd name="connsiteY96" fmla="*/ 232983 h 547879"/>
              <a:gd name="connsiteX97" fmla="*/ 232983 w 547879"/>
              <a:gd name="connsiteY97" fmla="*/ 274074 h 547879"/>
              <a:gd name="connsiteX98" fmla="*/ 274074 w 547879"/>
              <a:gd name="connsiteY98" fmla="*/ 315165 h 547879"/>
              <a:gd name="connsiteX99" fmla="*/ 315165 w 547879"/>
              <a:gd name="connsiteY99" fmla="*/ 274074 h 547879"/>
              <a:gd name="connsiteX100" fmla="*/ 274074 w 547879"/>
              <a:gd name="connsiteY100" fmla="*/ 232983 h 547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</a:cxnLst>
            <a:rect l="l" t="t" r="r" b="b"/>
            <a:pathLst>
              <a:path w="547879" h="547879">
                <a:moveTo>
                  <a:pt x="362970" y="0"/>
                </a:moveTo>
                <a:cubicBezTo>
                  <a:pt x="373371" y="0"/>
                  <a:pt x="381968" y="7729"/>
                  <a:pt x="383329" y="17758"/>
                </a:cubicBezTo>
                <a:lnTo>
                  <a:pt x="383515" y="20545"/>
                </a:lnTo>
                <a:lnTo>
                  <a:pt x="383529" y="84240"/>
                </a:lnTo>
                <a:cubicBezTo>
                  <a:pt x="423776" y="92415"/>
                  <a:pt x="455477" y="124120"/>
                  <a:pt x="463643" y="164369"/>
                </a:cubicBezTo>
                <a:lnTo>
                  <a:pt x="527334" y="164364"/>
                </a:lnTo>
                <a:cubicBezTo>
                  <a:pt x="538680" y="164364"/>
                  <a:pt x="547879" y="173562"/>
                  <a:pt x="547879" y="184909"/>
                </a:cubicBezTo>
                <a:cubicBezTo>
                  <a:pt x="547879" y="195311"/>
                  <a:pt x="540149" y="203907"/>
                  <a:pt x="530122" y="205267"/>
                </a:cubicBezTo>
                <a:lnTo>
                  <a:pt x="527334" y="205455"/>
                </a:lnTo>
                <a:lnTo>
                  <a:pt x="465697" y="205455"/>
                </a:lnTo>
                <a:lnTo>
                  <a:pt x="465697" y="253394"/>
                </a:lnTo>
                <a:lnTo>
                  <a:pt x="527334" y="253394"/>
                </a:lnTo>
                <a:cubicBezTo>
                  <a:pt x="537735" y="253394"/>
                  <a:pt x="546331" y="261125"/>
                  <a:pt x="547693" y="271151"/>
                </a:cubicBezTo>
                <a:lnTo>
                  <a:pt x="547879" y="273940"/>
                </a:lnTo>
                <a:cubicBezTo>
                  <a:pt x="547879" y="284341"/>
                  <a:pt x="540149" y="292937"/>
                  <a:pt x="530122" y="294299"/>
                </a:cubicBezTo>
                <a:lnTo>
                  <a:pt x="527334" y="294485"/>
                </a:lnTo>
                <a:lnTo>
                  <a:pt x="465697" y="294485"/>
                </a:lnTo>
                <a:lnTo>
                  <a:pt x="465697" y="342424"/>
                </a:lnTo>
                <a:lnTo>
                  <a:pt x="527334" y="342424"/>
                </a:lnTo>
                <a:cubicBezTo>
                  <a:pt x="537735" y="342424"/>
                  <a:pt x="546331" y="350155"/>
                  <a:pt x="547693" y="360181"/>
                </a:cubicBezTo>
                <a:lnTo>
                  <a:pt x="547879" y="362970"/>
                </a:lnTo>
                <a:cubicBezTo>
                  <a:pt x="547879" y="373371"/>
                  <a:pt x="540149" y="381968"/>
                  <a:pt x="530122" y="383329"/>
                </a:cubicBezTo>
                <a:lnTo>
                  <a:pt x="527334" y="383515"/>
                </a:lnTo>
                <a:lnTo>
                  <a:pt x="463637" y="383537"/>
                </a:lnTo>
                <a:cubicBezTo>
                  <a:pt x="455460" y="423774"/>
                  <a:pt x="423768" y="455466"/>
                  <a:pt x="383529" y="463640"/>
                </a:cubicBezTo>
                <a:lnTo>
                  <a:pt x="383515" y="527334"/>
                </a:lnTo>
                <a:cubicBezTo>
                  <a:pt x="383515" y="538680"/>
                  <a:pt x="374317" y="547879"/>
                  <a:pt x="362970" y="547879"/>
                </a:cubicBezTo>
                <a:cubicBezTo>
                  <a:pt x="352568" y="547879"/>
                  <a:pt x="343972" y="540149"/>
                  <a:pt x="342611" y="530122"/>
                </a:cubicBezTo>
                <a:lnTo>
                  <a:pt x="342424" y="527334"/>
                </a:lnTo>
                <a:lnTo>
                  <a:pt x="342424" y="465670"/>
                </a:lnTo>
                <a:lnTo>
                  <a:pt x="294458" y="465670"/>
                </a:lnTo>
                <a:lnTo>
                  <a:pt x="294485" y="527334"/>
                </a:lnTo>
                <a:cubicBezTo>
                  <a:pt x="294485" y="537735"/>
                  <a:pt x="286754" y="546331"/>
                  <a:pt x="276728" y="547693"/>
                </a:cubicBezTo>
                <a:lnTo>
                  <a:pt x="273940" y="547879"/>
                </a:lnTo>
                <a:cubicBezTo>
                  <a:pt x="263538" y="547879"/>
                  <a:pt x="254942" y="540149"/>
                  <a:pt x="253580" y="530122"/>
                </a:cubicBezTo>
                <a:lnTo>
                  <a:pt x="253394" y="527334"/>
                </a:lnTo>
                <a:lnTo>
                  <a:pt x="253367" y="465670"/>
                </a:lnTo>
                <a:lnTo>
                  <a:pt x="205455" y="465670"/>
                </a:lnTo>
                <a:lnTo>
                  <a:pt x="205455" y="527334"/>
                </a:lnTo>
                <a:cubicBezTo>
                  <a:pt x="205455" y="537735"/>
                  <a:pt x="197725" y="546331"/>
                  <a:pt x="187697" y="547693"/>
                </a:cubicBezTo>
                <a:lnTo>
                  <a:pt x="184909" y="547879"/>
                </a:lnTo>
                <a:cubicBezTo>
                  <a:pt x="174508" y="547879"/>
                  <a:pt x="165912" y="540149"/>
                  <a:pt x="164551" y="530122"/>
                </a:cubicBezTo>
                <a:lnTo>
                  <a:pt x="164364" y="527334"/>
                </a:lnTo>
                <a:lnTo>
                  <a:pt x="164376" y="463646"/>
                </a:lnTo>
                <a:cubicBezTo>
                  <a:pt x="124119" y="455479"/>
                  <a:pt x="92408" y="423771"/>
                  <a:pt x="84237" y="383515"/>
                </a:cubicBezTo>
                <a:lnTo>
                  <a:pt x="20545" y="383515"/>
                </a:lnTo>
                <a:cubicBezTo>
                  <a:pt x="9199" y="383515"/>
                  <a:pt x="0" y="374317"/>
                  <a:pt x="0" y="362970"/>
                </a:cubicBezTo>
                <a:cubicBezTo>
                  <a:pt x="0" y="352568"/>
                  <a:pt x="7729" y="343972"/>
                  <a:pt x="17758" y="342611"/>
                </a:cubicBezTo>
                <a:lnTo>
                  <a:pt x="20545" y="342424"/>
                </a:lnTo>
                <a:lnTo>
                  <a:pt x="82182" y="342397"/>
                </a:lnTo>
                <a:lnTo>
                  <a:pt x="82182" y="294458"/>
                </a:lnTo>
                <a:lnTo>
                  <a:pt x="20545" y="294485"/>
                </a:lnTo>
                <a:cubicBezTo>
                  <a:pt x="10144" y="294485"/>
                  <a:pt x="1548" y="286754"/>
                  <a:pt x="188" y="276728"/>
                </a:cubicBezTo>
                <a:lnTo>
                  <a:pt x="0" y="273940"/>
                </a:lnTo>
                <a:cubicBezTo>
                  <a:pt x="0" y="263538"/>
                  <a:pt x="7729" y="254942"/>
                  <a:pt x="17758" y="253580"/>
                </a:cubicBezTo>
                <a:lnTo>
                  <a:pt x="20545" y="253394"/>
                </a:lnTo>
                <a:lnTo>
                  <a:pt x="82182" y="253367"/>
                </a:lnTo>
                <a:lnTo>
                  <a:pt x="82182" y="205427"/>
                </a:lnTo>
                <a:lnTo>
                  <a:pt x="20545" y="205455"/>
                </a:lnTo>
                <a:cubicBezTo>
                  <a:pt x="10144" y="205455"/>
                  <a:pt x="1548" y="197725"/>
                  <a:pt x="188" y="187697"/>
                </a:cubicBezTo>
                <a:lnTo>
                  <a:pt x="0" y="184909"/>
                </a:lnTo>
                <a:cubicBezTo>
                  <a:pt x="0" y="174508"/>
                  <a:pt x="7729" y="165912"/>
                  <a:pt x="17758" y="164551"/>
                </a:cubicBezTo>
                <a:lnTo>
                  <a:pt x="20545" y="164364"/>
                </a:lnTo>
                <a:lnTo>
                  <a:pt x="84242" y="164337"/>
                </a:lnTo>
                <a:cubicBezTo>
                  <a:pt x="92422" y="124095"/>
                  <a:pt x="124128" y="92399"/>
                  <a:pt x="164376" y="84234"/>
                </a:cubicBezTo>
                <a:lnTo>
                  <a:pt x="164364" y="20545"/>
                </a:lnTo>
                <a:cubicBezTo>
                  <a:pt x="164364" y="9199"/>
                  <a:pt x="173562" y="0"/>
                  <a:pt x="184909" y="0"/>
                </a:cubicBezTo>
                <a:cubicBezTo>
                  <a:pt x="195311" y="0"/>
                  <a:pt x="203907" y="7729"/>
                  <a:pt x="205267" y="17758"/>
                </a:cubicBezTo>
                <a:lnTo>
                  <a:pt x="205455" y="20545"/>
                </a:lnTo>
                <a:lnTo>
                  <a:pt x="205455" y="82154"/>
                </a:lnTo>
                <a:lnTo>
                  <a:pt x="253367" y="82154"/>
                </a:lnTo>
                <a:lnTo>
                  <a:pt x="253394" y="20545"/>
                </a:lnTo>
                <a:cubicBezTo>
                  <a:pt x="253394" y="10144"/>
                  <a:pt x="261125" y="1548"/>
                  <a:pt x="271151" y="188"/>
                </a:cubicBezTo>
                <a:lnTo>
                  <a:pt x="273940" y="0"/>
                </a:lnTo>
                <a:cubicBezTo>
                  <a:pt x="284341" y="0"/>
                  <a:pt x="292937" y="7729"/>
                  <a:pt x="294299" y="17758"/>
                </a:cubicBezTo>
                <a:lnTo>
                  <a:pt x="294485" y="20545"/>
                </a:lnTo>
                <a:lnTo>
                  <a:pt x="294458" y="82154"/>
                </a:lnTo>
                <a:lnTo>
                  <a:pt x="342424" y="82154"/>
                </a:lnTo>
                <a:lnTo>
                  <a:pt x="342424" y="20545"/>
                </a:lnTo>
                <a:cubicBezTo>
                  <a:pt x="342424" y="11090"/>
                  <a:pt x="348813" y="3126"/>
                  <a:pt x="357508" y="734"/>
                </a:cubicBezTo>
                <a:lnTo>
                  <a:pt x="360181" y="188"/>
                </a:lnTo>
                <a:lnTo>
                  <a:pt x="362970" y="0"/>
                </a:lnTo>
                <a:close/>
                <a:moveTo>
                  <a:pt x="362970" y="123273"/>
                </a:moveTo>
                <a:lnTo>
                  <a:pt x="184909" y="123273"/>
                </a:lnTo>
                <a:cubicBezTo>
                  <a:pt x="150868" y="123273"/>
                  <a:pt x="123273" y="150868"/>
                  <a:pt x="123273" y="184909"/>
                </a:cubicBezTo>
                <a:lnTo>
                  <a:pt x="123273" y="362970"/>
                </a:lnTo>
                <a:cubicBezTo>
                  <a:pt x="123273" y="397010"/>
                  <a:pt x="150868" y="424606"/>
                  <a:pt x="184909" y="424606"/>
                </a:cubicBezTo>
                <a:lnTo>
                  <a:pt x="362970" y="424606"/>
                </a:lnTo>
                <a:cubicBezTo>
                  <a:pt x="397010" y="424606"/>
                  <a:pt x="424606" y="397010"/>
                  <a:pt x="424606" y="362970"/>
                </a:cubicBezTo>
                <a:lnTo>
                  <a:pt x="424606" y="184909"/>
                </a:lnTo>
                <a:cubicBezTo>
                  <a:pt x="424606" y="150868"/>
                  <a:pt x="397010" y="123273"/>
                  <a:pt x="362970" y="123273"/>
                </a:cubicBezTo>
                <a:close/>
                <a:moveTo>
                  <a:pt x="274074" y="191893"/>
                </a:moveTo>
                <a:cubicBezTo>
                  <a:pt x="319463" y="191893"/>
                  <a:pt x="356256" y="228688"/>
                  <a:pt x="356256" y="274074"/>
                </a:cubicBezTo>
                <a:cubicBezTo>
                  <a:pt x="356256" y="319463"/>
                  <a:pt x="319463" y="356256"/>
                  <a:pt x="274074" y="356256"/>
                </a:cubicBezTo>
                <a:cubicBezTo>
                  <a:pt x="228688" y="356256"/>
                  <a:pt x="191893" y="319463"/>
                  <a:pt x="191893" y="274074"/>
                </a:cubicBezTo>
                <a:cubicBezTo>
                  <a:pt x="191893" y="228688"/>
                  <a:pt x="228688" y="191893"/>
                  <a:pt x="274074" y="191893"/>
                </a:cubicBezTo>
                <a:close/>
                <a:moveTo>
                  <a:pt x="274074" y="232983"/>
                </a:moveTo>
                <a:cubicBezTo>
                  <a:pt x="251381" y="232983"/>
                  <a:pt x="232983" y="251381"/>
                  <a:pt x="232983" y="274074"/>
                </a:cubicBezTo>
                <a:cubicBezTo>
                  <a:pt x="232983" y="296770"/>
                  <a:pt x="251381" y="315165"/>
                  <a:pt x="274074" y="315165"/>
                </a:cubicBezTo>
                <a:cubicBezTo>
                  <a:pt x="296770" y="315165"/>
                  <a:pt x="315165" y="296770"/>
                  <a:pt x="315165" y="274074"/>
                </a:cubicBezTo>
                <a:cubicBezTo>
                  <a:pt x="315165" y="251381"/>
                  <a:pt x="296770" y="232983"/>
                  <a:pt x="274074" y="232983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3600000" scaled="0"/>
          </a:gra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0" name="Graphic 96" descr="Directions&#10;Keyword: fluent-icon;&#10;Metaphor: drive, vehicle, travel;&#10;&#10;Used in direction UI.">
            <a:extLst>
              <a:ext uri="{FF2B5EF4-FFF2-40B4-BE49-F238E27FC236}">
                <a16:creationId xmlns:a16="http://schemas.microsoft.com/office/drawing/2014/main" id="{DB72C174-E21A-B9B7-13DD-723851AE7BC4}"/>
              </a:ext>
            </a:extLst>
          </p:cNvPr>
          <p:cNvSpPr/>
          <p:nvPr/>
        </p:nvSpPr>
        <p:spPr>
          <a:xfrm>
            <a:off x="1631084" y="1942950"/>
            <a:ext cx="546100" cy="546098"/>
          </a:xfrm>
          <a:custGeom>
            <a:avLst/>
            <a:gdLst>
              <a:gd name="connsiteX0" fmla="*/ 336003 w 546100"/>
              <a:gd name="connsiteY0" fmla="*/ 26077 h 546098"/>
              <a:gd name="connsiteX1" fmla="*/ 520024 w 546100"/>
              <a:gd name="connsiteY1" fmla="*/ 210096 h 546098"/>
              <a:gd name="connsiteX2" fmla="*/ 520024 w 546100"/>
              <a:gd name="connsiteY2" fmla="*/ 336003 h 546098"/>
              <a:gd name="connsiteX3" fmla="*/ 336003 w 546100"/>
              <a:gd name="connsiteY3" fmla="*/ 520022 h 546098"/>
              <a:gd name="connsiteX4" fmla="*/ 210096 w 546100"/>
              <a:gd name="connsiteY4" fmla="*/ 520022 h 546098"/>
              <a:gd name="connsiteX5" fmla="*/ 26076 w 546100"/>
              <a:gd name="connsiteY5" fmla="*/ 336003 h 546098"/>
              <a:gd name="connsiteX6" fmla="*/ 26076 w 546100"/>
              <a:gd name="connsiteY6" fmla="*/ 210096 h 546098"/>
              <a:gd name="connsiteX7" fmla="*/ 210096 w 546100"/>
              <a:gd name="connsiteY7" fmla="*/ 26077 h 546098"/>
              <a:gd name="connsiteX8" fmla="*/ 336003 w 546100"/>
              <a:gd name="connsiteY8" fmla="*/ 26077 h 546098"/>
              <a:gd name="connsiteX9" fmla="*/ 239151 w 546100"/>
              <a:gd name="connsiteY9" fmla="*/ 55132 h 546098"/>
              <a:gd name="connsiteX10" fmla="*/ 55132 w 546100"/>
              <a:gd name="connsiteY10" fmla="*/ 239152 h 546098"/>
              <a:gd name="connsiteX11" fmla="*/ 55132 w 546100"/>
              <a:gd name="connsiteY11" fmla="*/ 306949 h 546098"/>
              <a:gd name="connsiteX12" fmla="*/ 239151 w 546100"/>
              <a:gd name="connsiteY12" fmla="*/ 490968 h 546098"/>
              <a:gd name="connsiteX13" fmla="*/ 306948 w 546100"/>
              <a:gd name="connsiteY13" fmla="*/ 490968 h 546098"/>
              <a:gd name="connsiteX14" fmla="*/ 490967 w 546100"/>
              <a:gd name="connsiteY14" fmla="*/ 306949 h 546098"/>
              <a:gd name="connsiteX15" fmla="*/ 490967 w 546100"/>
              <a:gd name="connsiteY15" fmla="*/ 239152 h 546098"/>
              <a:gd name="connsiteX16" fmla="*/ 306948 w 546100"/>
              <a:gd name="connsiteY16" fmla="*/ 55132 h 546098"/>
              <a:gd name="connsiteX17" fmla="*/ 239151 w 546100"/>
              <a:gd name="connsiteY17" fmla="*/ 55132 h 546098"/>
              <a:gd name="connsiteX18" fmla="*/ 285589 w 546100"/>
              <a:gd name="connsiteY18" fmla="*/ 144420 h 546098"/>
              <a:gd name="connsiteX19" fmla="*/ 287578 w 546100"/>
              <a:gd name="connsiteY19" fmla="*/ 142116 h 546098"/>
              <a:gd name="connsiteX20" fmla="*/ 314328 w 546100"/>
              <a:gd name="connsiteY20" fmla="*/ 140126 h 546098"/>
              <a:gd name="connsiteX21" fmla="*/ 316632 w 546100"/>
              <a:gd name="connsiteY21" fmla="*/ 142116 h 546098"/>
              <a:gd name="connsiteX22" fmla="*/ 371420 w 546100"/>
              <a:gd name="connsiteY22" fmla="*/ 196904 h 546098"/>
              <a:gd name="connsiteX23" fmla="*/ 373409 w 546100"/>
              <a:gd name="connsiteY23" fmla="*/ 223655 h 546098"/>
              <a:gd name="connsiteX24" fmla="*/ 371420 w 546100"/>
              <a:gd name="connsiteY24" fmla="*/ 225959 h 546098"/>
              <a:gd name="connsiteX25" fmla="*/ 316632 w 546100"/>
              <a:gd name="connsiteY25" fmla="*/ 280747 h 546098"/>
              <a:gd name="connsiteX26" fmla="*/ 287578 w 546100"/>
              <a:gd name="connsiteY26" fmla="*/ 280747 h 546098"/>
              <a:gd name="connsiteX27" fmla="*/ 285589 w 546100"/>
              <a:gd name="connsiteY27" fmla="*/ 253996 h 546098"/>
              <a:gd name="connsiteX28" fmla="*/ 287578 w 546100"/>
              <a:gd name="connsiteY28" fmla="*/ 251693 h 546098"/>
              <a:gd name="connsiteX29" fmla="*/ 307277 w 546100"/>
              <a:gd name="connsiteY29" fmla="*/ 231944 h 546098"/>
              <a:gd name="connsiteX30" fmla="*/ 266200 w 546100"/>
              <a:gd name="connsiteY30" fmla="*/ 231958 h 546098"/>
              <a:gd name="connsiteX31" fmla="*/ 232136 w 546100"/>
              <a:gd name="connsiteY31" fmla="*/ 262700 h 546098"/>
              <a:gd name="connsiteX32" fmla="*/ 231958 w 546100"/>
              <a:gd name="connsiteY32" fmla="*/ 266200 h 546098"/>
              <a:gd name="connsiteX33" fmla="*/ 231958 w 546100"/>
              <a:gd name="connsiteY33" fmla="*/ 355231 h 546098"/>
              <a:gd name="connsiteX34" fmla="*/ 211413 w 546100"/>
              <a:gd name="connsiteY34" fmla="*/ 375776 h 546098"/>
              <a:gd name="connsiteX35" fmla="*/ 191055 w 546100"/>
              <a:gd name="connsiteY35" fmla="*/ 358020 h 546098"/>
              <a:gd name="connsiteX36" fmla="*/ 190868 w 546100"/>
              <a:gd name="connsiteY36" fmla="*/ 355231 h 546098"/>
              <a:gd name="connsiteX37" fmla="*/ 190868 w 546100"/>
              <a:gd name="connsiteY37" fmla="*/ 266200 h 546098"/>
              <a:gd name="connsiteX38" fmla="*/ 261611 w 546100"/>
              <a:gd name="connsiteY38" fmla="*/ 191005 h 546098"/>
              <a:gd name="connsiteX39" fmla="*/ 266200 w 546100"/>
              <a:gd name="connsiteY39" fmla="*/ 190868 h 546098"/>
              <a:gd name="connsiteX40" fmla="*/ 307250 w 546100"/>
              <a:gd name="connsiteY40" fmla="*/ 190854 h 546098"/>
              <a:gd name="connsiteX41" fmla="*/ 287578 w 546100"/>
              <a:gd name="connsiteY41" fmla="*/ 171171 h 546098"/>
              <a:gd name="connsiteX42" fmla="*/ 285589 w 546100"/>
              <a:gd name="connsiteY42" fmla="*/ 144420 h 546098"/>
              <a:gd name="connsiteX43" fmla="*/ 287578 w 546100"/>
              <a:gd name="connsiteY43" fmla="*/ 142116 h 546098"/>
              <a:gd name="connsiteX44" fmla="*/ 285589 w 546100"/>
              <a:gd name="connsiteY44" fmla="*/ 144420 h 546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546100" h="546098">
                <a:moveTo>
                  <a:pt x="336003" y="26077"/>
                </a:moveTo>
                <a:lnTo>
                  <a:pt x="520024" y="210096"/>
                </a:lnTo>
                <a:cubicBezTo>
                  <a:pt x="554793" y="244863"/>
                  <a:pt x="554793" y="301235"/>
                  <a:pt x="520024" y="336003"/>
                </a:cubicBezTo>
                <a:lnTo>
                  <a:pt x="336003" y="520022"/>
                </a:lnTo>
                <a:cubicBezTo>
                  <a:pt x="301234" y="554790"/>
                  <a:pt x="244863" y="554790"/>
                  <a:pt x="210096" y="520022"/>
                </a:cubicBezTo>
                <a:lnTo>
                  <a:pt x="26076" y="336003"/>
                </a:lnTo>
                <a:cubicBezTo>
                  <a:pt x="-8692" y="301235"/>
                  <a:pt x="-8692" y="244863"/>
                  <a:pt x="26076" y="210096"/>
                </a:cubicBezTo>
                <a:lnTo>
                  <a:pt x="210096" y="26077"/>
                </a:lnTo>
                <a:cubicBezTo>
                  <a:pt x="244863" y="-8692"/>
                  <a:pt x="301234" y="-8692"/>
                  <a:pt x="336003" y="26077"/>
                </a:cubicBezTo>
                <a:close/>
                <a:moveTo>
                  <a:pt x="239151" y="55132"/>
                </a:moveTo>
                <a:lnTo>
                  <a:pt x="55132" y="239152"/>
                </a:lnTo>
                <a:cubicBezTo>
                  <a:pt x="36410" y="257873"/>
                  <a:pt x="36410" y="288225"/>
                  <a:pt x="55132" y="306949"/>
                </a:cubicBezTo>
                <a:lnTo>
                  <a:pt x="239151" y="490968"/>
                </a:lnTo>
                <a:cubicBezTo>
                  <a:pt x="257872" y="509689"/>
                  <a:pt x="288227" y="509689"/>
                  <a:pt x="306948" y="490968"/>
                </a:cubicBezTo>
                <a:lnTo>
                  <a:pt x="490967" y="306949"/>
                </a:lnTo>
                <a:cubicBezTo>
                  <a:pt x="509688" y="288225"/>
                  <a:pt x="509688" y="257873"/>
                  <a:pt x="490967" y="239152"/>
                </a:cubicBezTo>
                <a:lnTo>
                  <a:pt x="306948" y="55132"/>
                </a:lnTo>
                <a:cubicBezTo>
                  <a:pt x="288227" y="36411"/>
                  <a:pt x="257872" y="36411"/>
                  <a:pt x="239151" y="55132"/>
                </a:cubicBezTo>
                <a:close/>
                <a:moveTo>
                  <a:pt x="285589" y="144420"/>
                </a:moveTo>
                <a:lnTo>
                  <a:pt x="287578" y="142116"/>
                </a:lnTo>
                <a:cubicBezTo>
                  <a:pt x="294870" y="134821"/>
                  <a:pt x="306286" y="134159"/>
                  <a:pt x="314328" y="140126"/>
                </a:cubicBezTo>
                <a:lnTo>
                  <a:pt x="316632" y="142116"/>
                </a:lnTo>
                <a:lnTo>
                  <a:pt x="371420" y="196904"/>
                </a:lnTo>
                <a:cubicBezTo>
                  <a:pt x="378715" y="204198"/>
                  <a:pt x="379378" y="215612"/>
                  <a:pt x="373409" y="223655"/>
                </a:cubicBezTo>
                <a:lnTo>
                  <a:pt x="371420" y="225959"/>
                </a:lnTo>
                <a:lnTo>
                  <a:pt x="316632" y="280747"/>
                </a:lnTo>
                <a:cubicBezTo>
                  <a:pt x="308609" y="288770"/>
                  <a:pt x="295602" y="288770"/>
                  <a:pt x="287578" y="280747"/>
                </a:cubicBezTo>
                <a:cubicBezTo>
                  <a:pt x="280283" y="273454"/>
                  <a:pt x="279620" y="262039"/>
                  <a:pt x="285589" y="253996"/>
                </a:cubicBezTo>
                <a:lnTo>
                  <a:pt x="287578" y="251693"/>
                </a:lnTo>
                <a:lnTo>
                  <a:pt x="307277" y="231944"/>
                </a:lnTo>
                <a:lnTo>
                  <a:pt x="266200" y="231958"/>
                </a:lnTo>
                <a:cubicBezTo>
                  <a:pt x="248471" y="231958"/>
                  <a:pt x="233889" y="245433"/>
                  <a:pt x="232136" y="262700"/>
                </a:cubicBezTo>
                <a:lnTo>
                  <a:pt x="231958" y="266200"/>
                </a:lnTo>
                <a:lnTo>
                  <a:pt x="231958" y="355231"/>
                </a:lnTo>
                <a:cubicBezTo>
                  <a:pt x="231958" y="366577"/>
                  <a:pt x="222761" y="375776"/>
                  <a:pt x="211413" y="375776"/>
                </a:cubicBezTo>
                <a:cubicBezTo>
                  <a:pt x="201012" y="375776"/>
                  <a:pt x="192416" y="368048"/>
                  <a:pt x="191055" y="358020"/>
                </a:cubicBezTo>
                <a:lnTo>
                  <a:pt x="190868" y="355231"/>
                </a:lnTo>
                <a:lnTo>
                  <a:pt x="190868" y="266200"/>
                </a:lnTo>
                <a:cubicBezTo>
                  <a:pt x="190868" y="226137"/>
                  <a:pt x="222142" y="193377"/>
                  <a:pt x="261611" y="191005"/>
                </a:cubicBezTo>
                <a:lnTo>
                  <a:pt x="266200" y="190868"/>
                </a:lnTo>
                <a:lnTo>
                  <a:pt x="307250" y="190854"/>
                </a:lnTo>
                <a:lnTo>
                  <a:pt x="287578" y="171171"/>
                </a:lnTo>
                <a:cubicBezTo>
                  <a:pt x="280283" y="163877"/>
                  <a:pt x="279620" y="152463"/>
                  <a:pt x="285589" y="144420"/>
                </a:cubicBezTo>
                <a:lnTo>
                  <a:pt x="287578" y="142116"/>
                </a:lnTo>
                <a:lnTo>
                  <a:pt x="285589" y="14442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3600000" scaled="0"/>
          </a:gra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1" name="Graphic 100" descr="Dismiss Square&#10;Keyword: fluent-icon;&#10;Metaphor: x, close, cancel, remove;&#10;&#10;Used in scenarios where UI is closed, dismissed, or removed.">
            <a:extLst>
              <a:ext uri="{FF2B5EF4-FFF2-40B4-BE49-F238E27FC236}">
                <a16:creationId xmlns:a16="http://schemas.microsoft.com/office/drawing/2014/main" id="{C713EBFE-5E19-3679-CDF2-F1CEA0650809}"/>
              </a:ext>
            </a:extLst>
          </p:cNvPr>
          <p:cNvSpPr/>
          <p:nvPr/>
        </p:nvSpPr>
        <p:spPr>
          <a:xfrm>
            <a:off x="2584847" y="1969447"/>
            <a:ext cx="493091" cy="493091"/>
          </a:xfrm>
          <a:custGeom>
            <a:avLst/>
            <a:gdLst>
              <a:gd name="connsiteX0" fmla="*/ 142987 w 493091"/>
              <a:gd name="connsiteY0" fmla="*/ 142987 h 493091"/>
              <a:gd name="connsiteX1" fmla="*/ 172043 w 493091"/>
              <a:gd name="connsiteY1" fmla="*/ 142987 h 493091"/>
              <a:gd name="connsiteX2" fmla="*/ 246546 w 493091"/>
              <a:gd name="connsiteY2" fmla="*/ 217489 h 493091"/>
              <a:gd name="connsiteX3" fmla="*/ 321049 w 493091"/>
              <a:gd name="connsiteY3" fmla="*/ 142987 h 493091"/>
              <a:gd name="connsiteX4" fmla="*/ 350103 w 493091"/>
              <a:gd name="connsiteY4" fmla="*/ 142987 h 493091"/>
              <a:gd name="connsiteX5" fmla="*/ 350103 w 493091"/>
              <a:gd name="connsiteY5" fmla="*/ 172043 h 493091"/>
              <a:gd name="connsiteX6" fmla="*/ 275602 w 493091"/>
              <a:gd name="connsiteY6" fmla="*/ 246546 h 493091"/>
              <a:gd name="connsiteX7" fmla="*/ 350103 w 493091"/>
              <a:gd name="connsiteY7" fmla="*/ 321049 h 493091"/>
              <a:gd name="connsiteX8" fmla="*/ 350103 w 493091"/>
              <a:gd name="connsiteY8" fmla="*/ 350103 h 493091"/>
              <a:gd name="connsiteX9" fmla="*/ 321049 w 493091"/>
              <a:gd name="connsiteY9" fmla="*/ 350103 h 493091"/>
              <a:gd name="connsiteX10" fmla="*/ 246546 w 493091"/>
              <a:gd name="connsiteY10" fmla="*/ 275602 h 493091"/>
              <a:gd name="connsiteX11" fmla="*/ 172043 w 493091"/>
              <a:gd name="connsiteY11" fmla="*/ 350103 h 493091"/>
              <a:gd name="connsiteX12" fmla="*/ 142987 w 493091"/>
              <a:gd name="connsiteY12" fmla="*/ 350103 h 493091"/>
              <a:gd name="connsiteX13" fmla="*/ 142987 w 493091"/>
              <a:gd name="connsiteY13" fmla="*/ 321049 h 493091"/>
              <a:gd name="connsiteX14" fmla="*/ 217489 w 493091"/>
              <a:gd name="connsiteY14" fmla="*/ 246546 h 493091"/>
              <a:gd name="connsiteX15" fmla="*/ 142987 w 493091"/>
              <a:gd name="connsiteY15" fmla="*/ 172043 h 493091"/>
              <a:gd name="connsiteX16" fmla="*/ 142987 w 493091"/>
              <a:gd name="connsiteY16" fmla="*/ 142987 h 493091"/>
              <a:gd name="connsiteX17" fmla="*/ 89030 w 493091"/>
              <a:gd name="connsiteY17" fmla="*/ 0 h 493091"/>
              <a:gd name="connsiteX18" fmla="*/ 0 w 493091"/>
              <a:gd name="connsiteY18" fmla="*/ 89030 h 493091"/>
              <a:gd name="connsiteX19" fmla="*/ 0 w 493091"/>
              <a:gd name="connsiteY19" fmla="*/ 404061 h 493091"/>
              <a:gd name="connsiteX20" fmla="*/ 89030 w 493091"/>
              <a:gd name="connsiteY20" fmla="*/ 493091 h 493091"/>
              <a:gd name="connsiteX21" fmla="*/ 404061 w 493091"/>
              <a:gd name="connsiteY21" fmla="*/ 493091 h 493091"/>
              <a:gd name="connsiteX22" fmla="*/ 493091 w 493091"/>
              <a:gd name="connsiteY22" fmla="*/ 404061 h 493091"/>
              <a:gd name="connsiteX23" fmla="*/ 493091 w 493091"/>
              <a:gd name="connsiteY23" fmla="*/ 89030 h 493091"/>
              <a:gd name="connsiteX24" fmla="*/ 404061 w 493091"/>
              <a:gd name="connsiteY24" fmla="*/ 0 h 493091"/>
              <a:gd name="connsiteX25" fmla="*/ 89030 w 493091"/>
              <a:gd name="connsiteY25" fmla="*/ 0 h 493091"/>
              <a:gd name="connsiteX26" fmla="*/ 41091 w 493091"/>
              <a:gd name="connsiteY26" fmla="*/ 89030 h 493091"/>
              <a:gd name="connsiteX27" fmla="*/ 89030 w 493091"/>
              <a:gd name="connsiteY27" fmla="*/ 41091 h 493091"/>
              <a:gd name="connsiteX28" fmla="*/ 404061 w 493091"/>
              <a:gd name="connsiteY28" fmla="*/ 41091 h 493091"/>
              <a:gd name="connsiteX29" fmla="*/ 452000 w 493091"/>
              <a:gd name="connsiteY29" fmla="*/ 89030 h 493091"/>
              <a:gd name="connsiteX30" fmla="*/ 452000 w 493091"/>
              <a:gd name="connsiteY30" fmla="*/ 404061 h 493091"/>
              <a:gd name="connsiteX31" fmla="*/ 404061 w 493091"/>
              <a:gd name="connsiteY31" fmla="*/ 452000 h 493091"/>
              <a:gd name="connsiteX32" fmla="*/ 89030 w 493091"/>
              <a:gd name="connsiteY32" fmla="*/ 452000 h 493091"/>
              <a:gd name="connsiteX33" fmla="*/ 41091 w 493091"/>
              <a:gd name="connsiteY33" fmla="*/ 404061 h 493091"/>
              <a:gd name="connsiteX34" fmla="*/ 41091 w 493091"/>
              <a:gd name="connsiteY34" fmla="*/ 89030 h 493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493091" h="493091">
                <a:moveTo>
                  <a:pt x="142987" y="142987"/>
                </a:moveTo>
                <a:cubicBezTo>
                  <a:pt x="151011" y="134964"/>
                  <a:pt x="164020" y="134964"/>
                  <a:pt x="172043" y="142987"/>
                </a:cubicBezTo>
                <a:lnTo>
                  <a:pt x="246546" y="217489"/>
                </a:lnTo>
                <a:lnTo>
                  <a:pt x="321049" y="142987"/>
                </a:lnTo>
                <a:cubicBezTo>
                  <a:pt x="329073" y="134964"/>
                  <a:pt x="342079" y="134964"/>
                  <a:pt x="350103" y="142987"/>
                </a:cubicBezTo>
                <a:cubicBezTo>
                  <a:pt x="358127" y="151011"/>
                  <a:pt x="358127" y="164020"/>
                  <a:pt x="350103" y="172043"/>
                </a:cubicBezTo>
                <a:lnTo>
                  <a:pt x="275602" y="246546"/>
                </a:lnTo>
                <a:lnTo>
                  <a:pt x="350103" y="321049"/>
                </a:lnTo>
                <a:cubicBezTo>
                  <a:pt x="358127" y="329073"/>
                  <a:pt x="358127" y="342079"/>
                  <a:pt x="350103" y="350103"/>
                </a:cubicBezTo>
                <a:cubicBezTo>
                  <a:pt x="342079" y="358127"/>
                  <a:pt x="329073" y="358127"/>
                  <a:pt x="321049" y="350103"/>
                </a:cubicBezTo>
                <a:lnTo>
                  <a:pt x="246546" y="275602"/>
                </a:lnTo>
                <a:lnTo>
                  <a:pt x="172043" y="350103"/>
                </a:lnTo>
                <a:cubicBezTo>
                  <a:pt x="164020" y="358127"/>
                  <a:pt x="151011" y="358127"/>
                  <a:pt x="142987" y="350103"/>
                </a:cubicBezTo>
                <a:cubicBezTo>
                  <a:pt x="134964" y="342079"/>
                  <a:pt x="134964" y="329073"/>
                  <a:pt x="142987" y="321049"/>
                </a:cubicBezTo>
                <a:lnTo>
                  <a:pt x="217489" y="246546"/>
                </a:lnTo>
                <a:lnTo>
                  <a:pt x="142987" y="172043"/>
                </a:lnTo>
                <a:cubicBezTo>
                  <a:pt x="134964" y="164020"/>
                  <a:pt x="134964" y="151011"/>
                  <a:pt x="142987" y="142987"/>
                </a:cubicBezTo>
                <a:close/>
                <a:moveTo>
                  <a:pt x="89030" y="0"/>
                </a:moveTo>
                <a:cubicBezTo>
                  <a:pt x="39860" y="0"/>
                  <a:pt x="0" y="39860"/>
                  <a:pt x="0" y="89030"/>
                </a:cubicBezTo>
                <a:lnTo>
                  <a:pt x="0" y="404061"/>
                </a:lnTo>
                <a:cubicBezTo>
                  <a:pt x="0" y="453230"/>
                  <a:pt x="39860" y="493091"/>
                  <a:pt x="89030" y="493091"/>
                </a:cubicBezTo>
                <a:lnTo>
                  <a:pt x="404061" y="493091"/>
                </a:lnTo>
                <a:cubicBezTo>
                  <a:pt x="453230" y="493091"/>
                  <a:pt x="493091" y="453230"/>
                  <a:pt x="493091" y="404061"/>
                </a:cubicBezTo>
                <a:lnTo>
                  <a:pt x="493091" y="89030"/>
                </a:lnTo>
                <a:cubicBezTo>
                  <a:pt x="493091" y="39860"/>
                  <a:pt x="453230" y="0"/>
                  <a:pt x="404061" y="0"/>
                </a:cubicBezTo>
                <a:lnTo>
                  <a:pt x="89030" y="0"/>
                </a:lnTo>
                <a:close/>
                <a:moveTo>
                  <a:pt x="41091" y="89030"/>
                </a:moveTo>
                <a:cubicBezTo>
                  <a:pt x="41091" y="62554"/>
                  <a:pt x="62554" y="41091"/>
                  <a:pt x="89030" y="41091"/>
                </a:cubicBezTo>
                <a:lnTo>
                  <a:pt x="404061" y="41091"/>
                </a:lnTo>
                <a:cubicBezTo>
                  <a:pt x="430537" y="41091"/>
                  <a:pt x="452000" y="62554"/>
                  <a:pt x="452000" y="89030"/>
                </a:cubicBezTo>
                <a:lnTo>
                  <a:pt x="452000" y="404061"/>
                </a:lnTo>
                <a:cubicBezTo>
                  <a:pt x="452000" y="430537"/>
                  <a:pt x="430537" y="452000"/>
                  <a:pt x="404061" y="452000"/>
                </a:cubicBezTo>
                <a:lnTo>
                  <a:pt x="89030" y="452000"/>
                </a:lnTo>
                <a:cubicBezTo>
                  <a:pt x="62554" y="452000"/>
                  <a:pt x="41091" y="430537"/>
                  <a:pt x="41091" y="404061"/>
                </a:cubicBezTo>
                <a:lnTo>
                  <a:pt x="41091" y="8903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3600000" scaled="0"/>
          </a:gra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2" name="Graphic 103" descr="Drafts&#10;Keyword: fluent-icon, teams;&#10;Metaphor: edit, description, text;&#10;&#10;Used in editing text scenarios.">
            <a:extLst>
              <a:ext uri="{FF2B5EF4-FFF2-40B4-BE49-F238E27FC236}">
                <a16:creationId xmlns:a16="http://schemas.microsoft.com/office/drawing/2014/main" id="{DAAC59D7-CDC4-C2A9-93A6-434DAA2CB19E}"/>
              </a:ext>
            </a:extLst>
          </p:cNvPr>
          <p:cNvSpPr/>
          <p:nvPr/>
        </p:nvSpPr>
        <p:spPr>
          <a:xfrm>
            <a:off x="4417217" y="1939900"/>
            <a:ext cx="550050" cy="550050"/>
          </a:xfrm>
          <a:custGeom>
            <a:avLst/>
            <a:gdLst>
              <a:gd name="connsiteX0" fmla="*/ 517148 w 550050"/>
              <a:gd name="connsiteY0" fmla="*/ 24756 h 550050"/>
              <a:gd name="connsiteX1" fmla="*/ 521339 w 550050"/>
              <a:gd name="connsiteY1" fmla="*/ 28711 h 550050"/>
              <a:gd name="connsiteX2" fmla="*/ 525295 w 550050"/>
              <a:gd name="connsiteY2" fmla="*/ 32902 h 550050"/>
              <a:gd name="connsiteX3" fmla="*/ 521339 w 550050"/>
              <a:gd name="connsiteY3" fmla="*/ 167343 h 550050"/>
              <a:gd name="connsiteX4" fmla="*/ 193479 w 550050"/>
              <a:gd name="connsiteY4" fmla="*/ 495204 h 550050"/>
              <a:gd name="connsiteX5" fmla="*/ 166113 w 550050"/>
              <a:gd name="connsiteY5" fmla="*/ 511084 h 550050"/>
              <a:gd name="connsiteX6" fmla="*/ 25974 w 550050"/>
              <a:gd name="connsiteY6" fmla="*/ 549304 h 550050"/>
              <a:gd name="connsiteX7" fmla="*/ 747 w 550050"/>
              <a:gd name="connsiteY7" fmla="*/ 524077 h 550050"/>
              <a:gd name="connsiteX8" fmla="*/ 38966 w 550050"/>
              <a:gd name="connsiteY8" fmla="*/ 383938 h 550050"/>
              <a:gd name="connsiteX9" fmla="*/ 54847 w 550050"/>
              <a:gd name="connsiteY9" fmla="*/ 356571 h 550050"/>
              <a:gd name="connsiteX10" fmla="*/ 382707 w 550050"/>
              <a:gd name="connsiteY10" fmla="*/ 28711 h 550050"/>
              <a:gd name="connsiteX11" fmla="*/ 517148 w 550050"/>
              <a:gd name="connsiteY11" fmla="*/ 24756 h 550050"/>
              <a:gd name="connsiteX12" fmla="*/ 356148 w 550050"/>
              <a:gd name="connsiteY12" fmla="*/ 113384 h 550050"/>
              <a:gd name="connsiteX13" fmla="*/ 83903 w 550050"/>
              <a:gd name="connsiteY13" fmla="*/ 385628 h 550050"/>
              <a:gd name="connsiteX14" fmla="*/ 78609 w 550050"/>
              <a:gd name="connsiteY14" fmla="*/ 394750 h 550050"/>
              <a:gd name="connsiteX15" fmla="*/ 49850 w 550050"/>
              <a:gd name="connsiteY15" fmla="*/ 500200 h 550050"/>
              <a:gd name="connsiteX16" fmla="*/ 155301 w 550050"/>
              <a:gd name="connsiteY16" fmla="*/ 471442 h 550050"/>
              <a:gd name="connsiteX17" fmla="*/ 164423 w 550050"/>
              <a:gd name="connsiteY17" fmla="*/ 466147 h 550050"/>
              <a:gd name="connsiteX18" fmla="*/ 436659 w 550050"/>
              <a:gd name="connsiteY18" fmla="*/ 193895 h 550050"/>
              <a:gd name="connsiteX19" fmla="*/ 356148 w 550050"/>
              <a:gd name="connsiteY19" fmla="*/ 113384 h 550050"/>
              <a:gd name="connsiteX20" fmla="*/ 123980 w 550050"/>
              <a:gd name="connsiteY20" fmla="*/ 248683 h 550050"/>
              <a:gd name="connsiteX21" fmla="*/ 82889 w 550050"/>
              <a:gd name="connsiteY21" fmla="*/ 289774 h 550050"/>
              <a:gd name="connsiteX22" fmla="*/ 20568 w 550050"/>
              <a:gd name="connsiteY22" fmla="*/ 289785 h 550050"/>
              <a:gd name="connsiteX23" fmla="*/ 23 w 550050"/>
              <a:gd name="connsiteY23" fmla="*/ 269239 h 550050"/>
              <a:gd name="connsiteX24" fmla="*/ 20568 w 550050"/>
              <a:gd name="connsiteY24" fmla="*/ 248694 h 550050"/>
              <a:gd name="connsiteX25" fmla="*/ 123980 w 550050"/>
              <a:gd name="connsiteY25" fmla="*/ 248683 h 550050"/>
              <a:gd name="connsiteX26" fmla="*/ 233557 w 550050"/>
              <a:gd name="connsiteY26" fmla="*/ 139107 h 550050"/>
              <a:gd name="connsiteX27" fmla="*/ 192465 w 550050"/>
              <a:gd name="connsiteY27" fmla="*/ 180198 h 550050"/>
              <a:gd name="connsiteX28" fmla="*/ 20568 w 550050"/>
              <a:gd name="connsiteY28" fmla="*/ 180209 h 550050"/>
              <a:gd name="connsiteX29" fmla="*/ 23 w 550050"/>
              <a:gd name="connsiteY29" fmla="*/ 159664 h 550050"/>
              <a:gd name="connsiteX30" fmla="*/ 20568 w 550050"/>
              <a:gd name="connsiteY30" fmla="*/ 139118 h 550050"/>
              <a:gd name="connsiteX31" fmla="*/ 233557 w 550050"/>
              <a:gd name="connsiteY31" fmla="*/ 139107 h 550050"/>
              <a:gd name="connsiteX32" fmla="*/ 411763 w 550050"/>
              <a:gd name="connsiteY32" fmla="*/ 57767 h 550050"/>
              <a:gd name="connsiteX33" fmla="*/ 385186 w 550050"/>
              <a:gd name="connsiteY33" fmla="*/ 84319 h 550050"/>
              <a:gd name="connsiteX34" fmla="*/ 465697 w 550050"/>
              <a:gd name="connsiteY34" fmla="*/ 164857 h 550050"/>
              <a:gd name="connsiteX35" fmla="*/ 492282 w 550050"/>
              <a:gd name="connsiteY35" fmla="*/ 138287 h 550050"/>
              <a:gd name="connsiteX36" fmla="*/ 492282 w 550050"/>
              <a:gd name="connsiteY36" fmla="*/ 57767 h 550050"/>
              <a:gd name="connsiteX37" fmla="*/ 411763 w 550050"/>
              <a:gd name="connsiteY37" fmla="*/ 57767 h 550050"/>
              <a:gd name="connsiteX38" fmla="*/ 343133 w 550050"/>
              <a:gd name="connsiteY38" fmla="*/ 29531 h 550050"/>
              <a:gd name="connsiteX39" fmla="*/ 302042 w 550050"/>
              <a:gd name="connsiteY39" fmla="*/ 70622 h 550050"/>
              <a:gd name="connsiteX40" fmla="*/ 20568 w 550050"/>
              <a:gd name="connsiteY40" fmla="*/ 70633 h 550050"/>
              <a:gd name="connsiteX41" fmla="*/ 23 w 550050"/>
              <a:gd name="connsiteY41" fmla="*/ 50088 h 550050"/>
              <a:gd name="connsiteX42" fmla="*/ 20568 w 550050"/>
              <a:gd name="connsiteY42" fmla="*/ 29542 h 550050"/>
              <a:gd name="connsiteX43" fmla="*/ 343133 w 550050"/>
              <a:gd name="connsiteY43" fmla="*/ 29531 h 550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550050" h="550050">
                <a:moveTo>
                  <a:pt x="517148" y="24756"/>
                </a:moveTo>
                <a:lnTo>
                  <a:pt x="521339" y="28711"/>
                </a:lnTo>
                <a:lnTo>
                  <a:pt x="525295" y="32902"/>
                </a:lnTo>
                <a:cubicBezTo>
                  <a:pt x="559573" y="71397"/>
                  <a:pt x="558253" y="130428"/>
                  <a:pt x="521339" y="167343"/>
                </a:cubicBezTo>
                <a:lnTo>
                  <a:pt x="193479" y="495204"/>
                </a:lnTo>
                <a:cubicBezTo>
                  <a:pt x="185894" y="502786"/>
                  <a:pt x="176461" y="508262"/>
                  <a:pt x="166113" y="511084"/>
                </a:cubicBezTo>
                <a:lnTo>
                  <a:pt x="25974" y="549304"/>
                </a:lnTo>
                <a:cubicBezTo>
                  <a:pt x="10637" y="553487"/>
                  <a:pt x="-3436" y="539412"/>
                  <a:pt x="747" y="524077"/>
                </a:cubicBezTo>
                <a:lnTo>
                  <a:pt x="38966" y="383938"/>
                </a:lnTo>
                <a:cubicBezTo>
                  <a:pt x="41789" y="373588"/>
                  <a:pt x="47263" y="364157"/>
                  <a:pt x="54847" y="356571"/>
                </a:cubicBezTo>
                <a:lnTo>
                  <a:pt x="382707" y="28711"/>
                </a:lnTo>
                <a:cubicBezTo>
                  <a:pt x="419623" y="-8203"/>
                  <a:pt x="478654" y="-9522"/>
                  <a:pt x="517148" y="24756"/>
                </a:cubicBezTo>
                <a:close/>
                <a:moveTo>
                  <a:pt x="356148" y="113384"/>
                </a:moveTo>
                <a:lnTo>
                  <a:pt x="83903" y="385628"/>
                </a:lnTo>
                <a:cubicBezTo>
                  <a:pt x="81375" y="388156"/>
                  <a:pt x="79550" y="391298"/>
                  <a:pt x="78609" y="394750"/>
                </a:cubicBezTo>
                <a:lnTo>
                  <a:pt x="49850" y="500200"/>
                </a:lnTo>
                <a:lnTo>
                  <a:pt x="155301" y="471442"/>
                </a:lnTo>
                <a:cubicBezTo>
                  <a:pt x="158751" y="470500"/>
                  <a:pt x="161895" y="468675"/>
                  <a:pt x="164423" y="466147"/>
                </a:cubicBezTo>
                <a:lnTo>
                  <a:pt x="436659" y="193895"/>
                </a:lnTo>
                <a:lnTo>
                  <a:pt x="356148" y="113384"/>
                </a:lnTo>
                <a:close/>
                <a:moveTo>
                  <a:pt x="123980" y="248683"/>
                </a:moveTo>
                <a:lnTo>
                  <a:pt x="82889" y="289774"/>
                </a:lnTo>
                <a:lnTo>
                  <a:pt x="20568" y="289785"/>
                </a:lnTo>
                <a:cubicBezTo>
                  <a:pt x="9221" y="289785"/>
                  <a:pt x="23" y="280586"/>
                  <a:pt x="23" y="269239"/>
                </a:cubicBezTo>
                <a:cubicBezTo>
                  <a:pt x="23" y="257893"/>
                  <a:pt x="9221" y="248694"/>
                  <a:pt x="20568" y="248694"/>
                </a:cubicBezTo>
                <a:lnTo>
                  <a:pt x="123980" y="248683"/>
                </a:lnTo>
                <a:close/>
                <a:moveTo>
                  <a:pt x="233557" y="139107"/>
                </a:moveTo>
                <a:lnTo>
                  <a:pt x="192465" y="180198"/>
                </a:lnTo>
                <a:lnTo>
                  <a:pt x="20568" y="180209"/>
                </a:lnTo>
                <a:cubicBezTo>
                  <a:pt x="9221" y="180209"/>
                  <a:pt x="23" y="171011"/>
                  <a:pt x="23" y="159664"/>
                </a:cubicBezTo>
                <a:cubicBezTo>
                  <a:pt x="23" y="148317"/>
                  <a:pt x="9221" y="139118"/>
                  <a:pt x="20568" y="139118"/>
                </a:cubicBezTo>
                <a:lnTo>
                  <a:pt x="233557" y="139107"/>
                </a:lnTo>
                <a:close/>
                <a:moveTo>
                  <a:pt x="411763" y="57767"/>
                </a:moveTo>
                <a:lnTo>
                  <a:pt x="385186" y="84319"/>
                </a:lnTo>
                <a:lnTo>
                  <a:pt x="465697" y="164857"/>
                </a:lnTo>
                <a:lnTo>
                  <a:pt x="492282" y="138287"/>
                </a:lnTo>
                <a:cubicBezTo>
                  <a:pt x="514518" y="116052"/>
                  <a:pt x="514518" y="80002"/>
                  <a:pt x="492282" y="57767"/>
                </a:cubicBezTo>
                <a:cubicBezTo>
                  <a:pt x="470047" y="35532"/>
                  <a:pt x="433999" y="35532"/>
                  <a:pt x="411763" y="57767"/>
                </a:cubicBezTo>
                <a:close/>
                <a:moveTo>
                  <a:pt x="343133" y="29531"/>
                </a:moveTo>
                <a:lnTo>
                  <a:pt x="302042" y="70622"/>
                </a:lnTo>
                <a:lnTo>
                  <a:pt x="20568" y="70633"/>
                </a:lnTo>
                <a:cubicBezTo>
                  <a:pt x="9221" y="70633"/>
                  <a:pt x="23" y="61435"/>
                  <a:pt x="23" y="50088"/>
                </a:cubicBezTo>
                <a:cubicBezTo>
                  <a:pt x="23" y="38741"/>
                  <a:pt x="9221" y="29542"/>
                  <a:pt x="20568" y="29542"/>
                </a:cubicBezTo>
                <a:lnTo>
                  <a:pt x="343133" y="29531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3600000" scaled="0"/>
          </a:gra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3" name="Graphic 105" descr="Earth&#10;Keyword: fluent-icon, outlook;&#10;Metaphor: planet, globe;&#10;&#10;Used in scenarios where earth as a whole is discussed (ecological, planetary, etc). Can be troublesome to use if it doesn't represent the featured geographical area in the icon.">
            <a:extLst>
              <a:ext uri="{FF2B5EF4-FFF2-40B4-BE49-F238E27FC236}">
                <a16:creationId xmlns:a16="http://schemas.microsoft.com/office/drawing/2014/main" id="{ED42205D-D7F7-89CE-CC63-2B04367A6888}"/>
              </a:ext>
            </a:extLst>
          </p:cNvPr>
          <p:cNvSpPr/>
          <p:nvPr/>
        </p:nvSpPr>
        <p:spPr>
          <a:xfrm>
            <a:off x="5348408" y="1942053"/>
            <a:ext cx="547879" cy="547879"/>
          </a:xfrm>
          <a:custGeom>
            <a:avLst/>
            <a:gdLst>
              <a:gd name="connsiteX0" fmla="*/ 245050 w 547879"/>
              <a:gd name="connsiteY0" fmla="*/ 1291 h 547879"/>
              <a:gd name="connsiteX1" fmla="*/ 245187 w 547879"/>
              <a:gd name="connsiteY1" fmla="*/ 1491 h 547879"/>
              <a:gd name="connsiteX2" fmla="*/ 273940 w 547879"/>
              <a:gd name="connsiteY2" fmla="*/ 0 h 547879"/>
              <a:gd name="connsiteX3" fmla="*/ 547879 w 547879"/>
              <a:gd name="connsiteY3" fmla="*/ 273940 h 547879"/>
              <a:gd name="connsiteX4" fmla="*/ 273940 w 547879"/>
              <a:gd name="connsiteY4" fmla="*/ 547879 h 547879"/>
              <a:gd name="connsiteX5" fmla="*/ 57658 w 547879"/>
              <a:gd name="connsiteY5" fmla="*/ 442081 h 547879"/>
              <a:gd name="connsiteX6" fmla="*/ 57587 w 547879"/>
              <a:gd name="connsiteY6" fmla="*/ 442067 h 547879"/>
              <a:gd name="connsiteX7" fmla="*/ 57600 w 547879"/>
              <a:gd name="connsiteY7" fmla="*/ 442010 h 547879"/>
              <a:gd name="connsiteX8" fmla="*/ 0 w 547879"/>
              <a:gd name="connsiteY8" fmla="*/ 273940 h 547879"/>
              <a:gd name="connsiteX9" fmla="*/ 244675 w 547879"/>
              <a:gd name="connsiteY9" fmla="*/ 1545 h 547879"/>
              <a:gd name="connsiteX10" fmla="*/ 245050 w 547879"/>
              <a:gd name="connsiteY10" fmla="*/ 1291 h 547879"/>
              <a:gd name="connsiteX11" fmla="*/ 273940 w 547879"/>
              <a:gd name="connsiteY11" fmla="*/ 41091 h 547879"/>
              <a:gd name="connsiteX12" fmla="*/ 269573 w 547879"/>
              <a:gd name="connsiteY12" fmla="*/ 41131 h 547879"/>
              <a:gd name="connsiteX13" fmla="*/ 279813 w 547879"/>
              <a:gd name="connsiteY13" fmla="*/ 64425 h 547879"/>
              <a:gd name="connsiteX14" fmla="*/ 282550 w 547879"/>
              <a:gd name="connsiteY14" fmla="*/ 159922 h 547879"/>
              <a:gd name="connsiteX15" fmla="*/ 225293 w 547879"/>
              <a:gd name="connsiteY15" fmla="*/ 203003 h 547879"/>
              <a:gd name="connsiteX16" fmla="*/ 222973 w 547879"/>
              <a:gd name="connsiteY16" fmla="*/ 203601 h 547879"/>
              <a:gd name="connsiteX17" fmla="*/ 193037 w 547879"/>
              <a:gd name="connsiteY17" fmla="*/ 217675 h 547879"/>
              <a:gd name="connsiteX18" fmla="*/ 194719 w 547879"/>
              <a:gd name="connsiteY18" fmla="*/ 251907 h 547879"/>
              <a:gd name="connsiteX19" fmla="*/ 195984 w 547879"/>
              <a:gd name="connsiteY19" fmla="*/ 255966 h 547879"/>
              <a:gd name="connsiteX20" fmla="*/ 202281 w 547879"/>
              <a:gd name="connsiteY20" fmla="*/ 279602 h 547879"/>
              <a:gd name="connsiteX21" fmla="*/ 198115 w 547879"/>
              <a:gd name="connsiteY21" fmla="*/ 314543 h 547879"/>
              <a:gd name="connsiteX22" fmla="*/ 173437 w 547879"/>
              <a:gd name="connsiteY22" fmla="*/ 340417 h 547879"/>
              <a:gd name="connsiteX23" fmla="*/ 147217 w 547879"/>
              <a:gd name="connsiteY23" fmla="*/ 348709 h 547879"/>
              <a:gd name="connsiteX24" fmla="*/ 144670 w 547879"/>
              <a:gd name="connsiteY24" fmla="*/ 349158 h 547879"/>
              <a:gd name="connsiteX25" fmla="*/ 117248 w 547879"/>
              <a:gd name="connsiteY25" fmla="*/ 359869 h 547879"/>
              <a:gd name="connsiteX26" fmla="*/ 106932 w 547879"/>
              <a:gd name="connsiteY26" fmla="*/ 389402 h 547879"/>
              <a:gd name="connsiteX27" fmla="*/ 105192 w 547879"/>
              <a:gd name="connsiteY27" fmla="*/ 407104 h 547879"/>
              <a:gd name="connsiteX28" fmla="*/ 104931 w 547879"/>
              <a:gd name="connsiteY28" fmla="*/ 410312 h 547879"/>
              <a:gd name="connsiteX29" fmla="*/ 102212 w 547879"/>
              <a:gd name="connsiteY29" fmla="*/ 431148 h 547879"/>
              <a:gd name="connsiteX30" fmla="*/ 102204 w 547879"/>
              <a:gd name="connsiteY30" fmla="*/ 431186 h 547879"/>
              <a:gd name="connsiteX31" fmla="*/ 273940 w 547879"/>
              <a:gd name="connsiteY31" fmla="*/ 506788 h 547879"/>
              <a:gd name="connsiteX32" fmla="*/ 392268 w 547879"/>
              <a:gd name="connsiteY32" fmla="*/ 474524 h 547879"/>
              <a:gd name="connsiteX33" fmla="*/ 383765 w 547879"/>
              <a:gd name="connsiteY33" fmla="*/ 464925 h 547879"/>
              <a:gd name="connsiteX34" fmla="*/ 366498 w 547879"/>
              <a:gd name="connsiteY34" fmla="*/ 409238 h 547879"/>
              <a:gd name="connsiteX35" fmla="*/ 380598 w 547879"/>
              <a:gd name="connsiteY35" fmla="*/ 380855 h 547879"/>
              <a:gd name="connsiteX36" fmla="*/ 400311 w 547879"/>
              <a:gd name="connsiteY36" fmla="*/ 360576 h 547879"/>
              <a:gd name="connsiteX37" fmla="*/ 404669 w 547879"/>
              <a:gd name="connsiteY37" fmla="*/ 356584 h 547879"/>
              <a:gd name="connsiteX38" fmla="*/ 417248 w 547879"/>
              <a:gd name="connsiteY38" fmla="*/ 344621 h 547879"/>
              <a:gd name="connsiteX39" fmla="*/ 423067 w 547879"/>
              <a:gd name="connsiteY39" fmla="*/ 337310 h 547879"/>
              <a:gd name="connsiteX40" fmla="*/ 420160 w 547879"/>
              <a:gd name="connsiteY40" fmla="*/ 324870 h 547879"/>
              <a:gd name="connsiteX41" fmla="*/ 414961 w 547879"/>
              <a:gd name="connsiteY41" fmla="*/ 323188 h 547879"/>
              <a:gd name="connsiteX42" fmla="*/ 403973 w 547879"/>
              <a:gd name="connsiteY42" fmla="*/ 327007 h 547879"/>
              <a:gd name="connsiteX43" fmla="*/ 381077 w 547879"/>
              <a:gd name="connsiteY43" fmla="*/ 329352 h 547879"/>
              <a:gd name="connsiteX44" fmla="*/ 367747 w 547879"/>
              <a:gd name="connsiteY44" fmla="*/ 317534 h 547879"/>
              <a:gd name="connsiteX45" fmla="*/ 360148 w 547879"/>
              <a:gd name="connsiteY45" fmla="*/ 296378 h 547879"/>
              <a:gd name="connsiteX46" fmla="*/ 357006 w 547879"/>
              <a:gd name="connsiteY46" fmla="*/ 281229 h 547879"/>
              <a:gd name="connsiteX47" fmla="*/ 355889 w 547879"/>
              <a:gd name="connsiteY47" fmla="*/ 275586 h 547879"/>
              <a:gd name="connsiteX48" fmla="*/ 352215 w 547879"/>
              <a:gd name="connsiteY48" fmla="*/ 260815 h 547879"/>
              <a:gd name="connsiteX49" fmla="*/ 351689 w 547879"/>
              <a:gd name="connsiteY49" fmla="*/ 259763 h 547879"/>
              <a:gd name="connsiteX50" fmla="*/ 349936 w 547879"/>
              <a:gd name="connsiteY50" fmla="*/ 256892 h 547879"/>
              <a:gd name="connsiteX51" fmla="*/ 343698 w 547879"/>
              <a:gd name="connsiteY51" fmla="*/ 248225 h 547879"/>
              <a:gd name="connsiteX52" fmla="*/ 340707 w 547879"/>
              <a:gd name="connsiteY52" fmla="*/ 244288 h 547879"/>
              <a:gd name="connsiteX53" fmla="*/ 326563 w 547879"/>
              <a:gd name="connsiteY53" fmla="*/ 224795 h 547879"/>
              <a:gd name="connsiteX54" fmla="*/ 313220 w 547879"/>
              <a:gd name="connsiteY54" fmla="*/ 194548 h 547879"/>
              <a:gd name="connsiteX55" fmla="*/ 314726 w 547879"/>
              <a:gd name="connsiteY55" fmla="*/ 174455 h 547879"/>
              <a:gd name="connsiteX56" fmla="*/ 328054 w 547879"/>
              <a:gd name="connsiteY56" fmla="*/ 156677 h 547879"/>
              <a:gd name="connsiteX57" fmla="*/ 378004 w 547879"/>
              <a:gd name="connsiteY57" fmla="*/ 103011 h 547879"/>
              <a:gd name="connsiteX58" fmla="*/ 398163 w 547879"/>
              <a:gd name="connsiteY58" fmla="*/ 76960 h 547879"/>
              <a:gd name="connsiteX59" fmla="*/ 273940 w 547879"/>
              <a:gd name="connsiteY59" fmla="*/ 41091 h 547879"/>
              <a:gd name="connsiteX60" fmla="*/ 430836 w 547879"/>
              <a:gd name="connsiteY60" fmla="*/ 101884 h 547879"/>
              <a:gd name="connsiteX61" fmla="*/ 410077 w 547879"/>
              <a:gd name="connsiteY61" fmla="*/ 128696 h 547879"/>
              <a:gd name="connsiteX62" fmla="*/ 353933 w 547879"/>
              <a:gd name="connsiteY62" fmla="*/ 188618 h 547879"/>
              <a:gd name="connsiteX63" fmla="*/ 360918 w 547879"/>
              <a:gd name="connsiteY63" fmla="*/ 202249 h 547879"/>
              <a:gd name="connsiteX64" fmla="*/ 372944 w 547879"/>
              <a:gd name="connsiteY64" fmla="*/ 218794 h 547879"/>
              <a:gd name="connsiteX65" fmla="*/ 376494 w 547879"/>
              <a:gd name="connsiteY65" fmla="*/ 223469 h 547879"/>
              <a:gd name="connsiteX66" fmla="*/ 390764 w 547879"/>
              <a:gd name="connsiteY66" fmla="*/ 246584 h 547879"/>
              <a:gd name="connsiteX67" fmla="*/ 396166 w 547879"/>
              <a:gd name="connsiteY67" fmla="*/ 267442 h 547879"/>
              <a:gd name="connsiteX68" fmla="*/ 397500 w 547879"/>
              <a:gd name="connsiteY68" fmla="*/ 274192 h 547879"/>
              <a:gd name="connsiteX69" fmla="*/ 399549 w 547879"/>
              <a:gd name="connsiteY69" fmla="*/ 284311 h 547879"/>
              <a:gd name="connsiteX70" fmla="*/ 445297 w 547879"/>
              <a:gd name="connsiteY70" fmla="*/ 292365 h 547879"/>
              <a:gd name="connsiteX71" fmla="*/ 462402 w 547879"/>
              <a:gd name="connsiteY71" fmla="*/ 349196 h 547879"/>
              <a:gd name="connsiteX72" fmla="*/ 446974 w 547879"/>
              <a:gd name="connsiteY72" fmla="*/ 372993 h 547879"/>
              <a:gd name="connsiteX73" fmla="*/ 431762 w 547879"/>
              <a:gd name="connsiteY73" fmla="*/ 387493 h 547879"/>
              <a:gd name="connsiteX74" fmla="*/ 428137 w 547879"/>
              <a:gd name="connsiteY74" fmla="*/ 390810 h 547879"/>
              <a:gd name="connsiteX75" fmla="*/ 412580 w 547879"/>
              <a:gd name="connsiteY75" fmla="*/ 406655 h 547879"/>
              <a:gd name="connsiteX76" fmla="*/ 406954 w 547879"/>
              <a:gd name="connsiteY76" fmla="*/ 416427 h 547879"/>
              <a:gd name="connsiteX77" fmla="*/ 415942 w 547879"/>
              <a:gd name="connsiteY77" fmla="*/ 439366 h 547879"/>
              <a:gd name="connsiteX78" fmla="*/ 425297 w 547879"/>
              <a:gd name="connsiteY78" fmla="*/ 449302 h 547879"/>
              <a:gd name="connsiteX79" fmla="*/ 426201 w 547879"/>
              <a:gd name="connsiteY79" fmla="*/ 450110 h 547879"/>
              <a:gd name="connsiteX80" fmla="*/ 506788 w 547879"/>
              <a:gd name="connsiteY80" fmla="*/ 273940 h 547879"/>
              <a:gd name="connsiteX81" fmla="*/ 430836 w 547879"/>
              <a:gd name="connsiteY81" fmla="*/ 101884 h 547879"/>
              <a:gd name="connsiteX82" fmla="*/ 41091 w 547879"/>
              <a:gd name="connsiteY82" fmla="*/ 273940 h 547879"/>
              <a:gd name="connsiteX83" fmla="*/ 66729 w 547879"/>
              <a:gd name="connsiteY83" fmla="*/ 380267 h 547879"/>
              <a:gd name="connsiteX84" fmla="*/ 87210 w 547879"/>
              <a:gd name="connsiteY84" fmla="*/ 331829 h 547879"/>
              <a:gd name="connsiteX85" fmla="*/ 136468 w 547879"/>
              <a:gd name="connsiteY85" fmla="*/ 308850 h 547879"/>
              <a:gd name="connsiteX86" fmla="*/ 140042 w 547879"/>
              <a:gd name="connsiteY86" fmla="*/ 308251 h 547879"/>
              <a:gd name="connsiteX87" fmla="*/ 153778 w 547879"/>
              <a:gd name="connsiteY87" fmla="*/ 304333 h 547879"/>
              <a:gd name="connsiteX88" fmla="*/ 161676 w 547879"/>
              <a:gd name="connsiteY88" fmla="*/ 295553 h 547879"/>
              <a:gd name="connsiteX89" fmla="*/ 161798 w 547879"/>
              <a:gd name="connsiteY89" fmla="*/ 286645 h 547879"/>
              <a:gd name="connsiteX90" fmla="*/ 157065 w 547879"/>
              <a:gd name="connsiteY90" fmla="*/ 269217 h 547879"/>
              <a:gd name="connsiteX91" fmla="*/ 155436 w 547879"/>
              <a:gd name="connsiteY91" fmla="*/ 263960 h 547879"/>
              <a:gd name="connsiteX92" fmla="*/ 158722 w 547879"/>
              <a:gd name="connsiteY92" fmla="*/ 195072 h 547879"/>
              <a:gd name="connsiteX93" fmla="*/ 210586 w 547879"/>
              <a:gd name="connsiteY93" fmla="*/ 164311 h 547879"/>
              <a:gd name="connsiteX94" fmla="*/ 215014 w 547879"/>
              <a:gd name="connsiteY94" fmla="*/ 163219 h 547879"/>
              <a:gd name="connsiteX95" fmla="*/ 245357 w 547879"/>
              <a:gd name="connsiteY95" fmla="*/ 142456 h 547879"/>
              <a:gd name="connsiteX96" fmla="*/ 241354 w 547879"/>
              <a:gd name="connsiteY96" fmla="*/ 78900 h 547879"/>
              <a:gd name="connsiteX97" fmla="*/ 228688 w 547879"/>
              <a:gd name="connsiteY97" fmla="*/ 51680 h 547879"/>
              <a:gd name="connsiteX98" fmla="*/ 225499 w 547879"/>
              <a:gd name="connsiteY98" fmla="*/ 46137 h 547879"/>
              <a:gd name="connsiteX99" fmla="*/ 41091 w 547879"/>
              <a:gd name="connsiteY99" fmla="*/ 273940 h 547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</a:cxnLst>
            <a:rect l="l" t="t" r="r" b="b"/>
            <a:pathLst>
              <a:path w="547879" h="547879">
                <a:moveTo>
                  <a:pt x="245050" y="1291"/>
                </a:moveTo>
                <a:lnTo>
                  <a:pt x="245187" y="1491"/>
                </a:lnTo>
                <a:cubicBezTo>
                  <a:pt x="254635" y="505"/>
                  <a:pt x="264228" y="0"/>
                  <a:pt x="273940" y="0"/>
                </a:cubicBezTo>
                <a:cubicBezTo>
                  <a:pt x="425231" y="0"/>
                  <a:pt x="547879" y="122647"/>
                  <a:pt x="547879" y="273940"/>
                </a:cubicBezTo>
                <a:cubicBezTo>
                  <a:pt x="547879" y="425231"/>
                  <a:pt x="425231" y="547879"/>
                  <a:pt x="273940" y="547879"/>
                </a:cubicBezTo>
                <a:cubicBezTo>
                  <a:pt x="186025" y="547879"/>
                  <a:pt x="107783" y="506465"/>
                  <a:pt x="57658" y="442081"/>
                </a:cubicBezTo>
                <a:lnTo>
                  <a:pt x="57587" y="442067"/>
                </a:lnTo>
                <a:lnTo>
                  <a:pt x="57600" y="442010"/>
                </a:lnTo>
                <a:cubicBezTo>
                  <a:pt x="21500" y="395607"/>
                  <a:pt x="0" y="337283"/>
                  <a:pt x="0" y="273940"/>
                </a:cubicBezTo>
                <a:cubicBezTo>
                  <a:pt x="0" y="132533"/>
                  <a:pt x="107142" y="16151"/>
                  <a:pt x="244675" y="1545"/>
                </a:cubicBezTo>
                <a:lnTo>
                  <a:pt x="245050" y="1291"/>
                </a:lnTo>
                <a:close/>
                <a:moveTo>
                  <a:pt x="273940" y="41091"/>
                </a:moveTo>
                <a:cubicBezTo>
                  <a:pt x="272482" y="41091"/>
                  <a:pt x="271025" y="41104"/>
                  <a:pt x="269573" y="41131"/>
                </a:cubicBezTo>
                <a:cubicBezTo>
                  <a:pt x="272931" y="47821"/>
                  <a:pt x="276539" y="55728"/>
                  <a:pt x="279813" y="64425"/>
                </a:cubicBezTo>
                <a:cubicBezTo>
                  <a:pt x="289316" y="89675"/>
                  <a:pt x="298052" y="126913"/>
                  <a:pt x="282550" y="159922"/>
                </a:cubicBezTo>
                <a:cubicBezTo>
                  <a:pt x="268233" y="190407"/>
                  <a:pt x="243521" y="198294"/>
                  <a:pt x="225293" y="203003"/>
                </a:cubicBezTo>
                <a:lnTo>
                  <a:pt x="222973" y="203601"/>
                </a:lnTo>
                <a:cubicBezTo>
                  <a:pt x="204994" y="208236"/>
                  <a:pt x="198081" y="210019"/>
                  <a:pt x="193037" y="217675"/>
                </a:cubicBezTo>
                <a:cubicBezTo>
                  <a:pt x="188408" y="224702"/>
                  <a:pt x="189110" y="233627"/>
                  <a:pt x="194719" y="251907"/>
                </a:cubicBezTo>
                <a:cubicBezTo>
                  <a:pt x="195113" y="253191"/>
                  <a:pt x="195539" y="254550"/>
                  <a:pt x="195984" y="255966"/>
                </a:cubicBezTo>
                <a:cubicBezTo>
                  <a:pt x="198206" y="263045"/>
                  <a:pt x="200884" y="271578"/>
                  <a:pt x="202281" y="279602"/>
                </a:cubicBezTo>
                <a:cubicBezTo>
                  <a:pt x="204017" y="289584"/>
                  <a:pt x="204508" y="302276"/>
                  <a:pt x="198115" y="314543"/>
                </a:cubicBezTo>
                <a:cubicBezTo>
                  <a:pt x="191774" y="326711"/>
                  <a:pt x="183368" y="335006"/>
                  <a:pt x="173437" y="340417"/>
                </a:cubicBezTo>
                <a:cubicBezTo>
                  <a:pt x="164108" y="345501"/>
                  <a:pt x="154445" y="347427"/>
                  <a:pt x="147217" y="348709"/>
                </a:cubicBezTo>
                <a:lnTo>
                  <a:pt x="144670" y="349158"/>
                </a:lnTo>
                <a:cubicBezTo>
                  <a:pt x="130565" y="351640"/>
                  <a:pt x="123819" y="352829"/>
                  <a:pt x="117248" y="359869"/>
                </a:cubicBezTo>
                <a:cubicBezTo>
                  <a:pt x="112147" y="365331"/>
                  <a:pt x="108855" y="374982"/>
                  <a:pt x="106932" y="389402"/>
                </a:cubicBezTo>
                <a:cubicBezTo>
                  <a:pt x="106149" y="395270"/>
                  <a:pt x="105679" y="401089"/>
                  <a:pt x="105192" y="407104"/>
                </a:cubicBezTo>
                <a:lnTo>
                  <a:pt x="104931" y="410312"/>
                </a:lnTo>
                <a:cubicBezTo>
                  <a:pt x="104384" y="416950"/>
                  <a:pt x="103705" y="424590"/>
                  <a:pt x="102212" y="431148"/>
                </a:cubicBezTo>
                <a:lnTo>
                  <a:pt x="102204" y="431186"/>
                </a:lnTo>
                <a:cubicBezTo>
                  <a:pt x="144774" y="477652"/>
                  <a:pt x="205954" y="506788"/>
                  <a:pt x="273940" y="506788"/>
                </a:cubicBezTo>
                <a:cubicBezTo>
                  <a:pt x="317140" y="506788"/>
                  <a:pt x="357593" y="495023"/>
                  <a:pt x="392268" y="474524"/>
                </a:cubicBezTo>
                <a:cubicBezTo>
                  <a:pt x="389575" y="471779"/>
                  <a:pt x="386649" y="468557"/>
                  <a:pt x="383765" y="464925"/>
                </a:cubicBezTo>
                <a:cubicBezTo>
                  <a:pt x="374464" y="453217"/>
                  <a:pt x="362266" y="433046"/>
                  <a:pt x="366498" y="409238"/>
                </a:cubicBezTo>
                <a:cubicBezTo>
                  <a:pt x="368531" y="397790"/>
                  <a:pt x="374667" y="388205"/>
                  <a:pt x="380598" y="380855"/>
                </a:cubicBezTo>
                <a:cubicBezTo>
                  <a:pt x="386641" y="373366"/>
                  <a:pt x="393933" y="366446"/>
                  <a:pt x="400311" y="360576"/>
                </a:cubicBezTo>
                <a:cubicBezTo>
                  <a:pt x="401826" y="359181"/>
                  <a:pt x="403277" y="357856"/>
                  <a:pt x="404669" y="356584"/>
                </a:cubicBezTo>
                <a:cubicBezTo>
                  <a:pt x="409551" y="352127"/>
                  <a:pt x="413698" y="348339"/>
                  <a:pt x="417248" y="344621"/>
                </a:cubicBezTo>
                <a:cubicBezTo>
                  <a:pt x="421982" y="339660"/>
                  <a:pt x="423012" y="337425"/>
                  <a:pt x="423067" y="337310"/>
                </a:cubicBezTo>
                <a:cubicBezTo>
                  <a:pt x="424927" y="331155"/>
                  <a:pt x="422645" y="326794"/>
                  <a:pt x="420160" y="324870"/>
                </a:cubicBezTo>
                <a:cubicBezTo>
                  <a:pt x="418911" y="323906"/>
                  <a:pt x="417235" y="323205"/>
                  <a:pt x="414961" y="323188"/>
                </a:cubicBezTo>
                <a:cubicBezTo>
                  <a:pt x="412665" y="323169"/>
                  <a:pt x="408942" y="323857"/>
                  <a:pt x="403973" y="327007"/>
                </a:cubicBezTo>
                <a:cubicBezTo>
                  <a:pt x="398229" y="330645"/>
                  <a:pt x="389871" y="332891"/>
                  <a:pt x="381077" y="329352"/>
                </a:cubicBezTo>
                <a:cubicBezTo>
                  <a:pt x="373752" y="326402"/>
                  <a:pt x="369695" y="320756"/>
                  <a:pt x="367747" y="317534"/>
                </a:cubicBezTo>
                <a:cubicBezTo>
                  <a:pt x="363805" y="311017"/>
                  <a:pt x="361589" y="302572"/>
                  <a:pt x="360148" y="296378"/>
                </a:cubicBezTo>
                <a:cubicBezTo>
                  <a:pt x="359036" y="291600"/>
                  <a:pt x="357973" y="286176"/>
                  <a:pt x="357006" y="281229"/>
                </a:cubicBezTo>
                <a:cubicBezTo>
                  <a:pt x="356617" y="279249"/>
                  <a:pt x="356245" y="277342"/>
                  <a:pt x="355889" y="275586"/>
                </a:cubicBezTo>
                <a:cubicBezTo>
                  <a:pt x="354505" y="268743"/>
                  <a:pt x="353338" y="263853"/>
                  <a:pt x="352215" y="260815"/>
                </a:cubicBezTo>
                <a:cubicBezTo>
                  <a:pt x="352199" y="260777"/>
                  <a:pt x="352062" y="260443"/>
                  <a:pt x="351689" y="259763"/>
                </a:cubicBezTo>
                <a:cubicBezTo>
                  <a:pt x="351286" y="259024"/>
                  <a:pt x="350714" y="258078"/>
                  <a:pt x="349936" y="256892"/>
                </a:cubicBezTo>
                <a:cubicBezTo>
                  <a:pt x="348347" y="254473"/>
                  <a:pt x="346271" y="251633"/>
                  <a:pt x="343698" y="248225"/>
                </a:cubicBezTo>
                <a:cubicBezTo>
                  <a:pt x="342764" y="246987"/>
                  <a:pt x="341759" y="245669"/>
                  <a:pt x="340707" y="244288"/>
                </a:cubicBezTo>
                <a:cubicBezTo>
                  <a:pt x="336294" y="238503"/>
                  <a:pt x="331034" y="231610"/>
                  <a:pt x="326563" y="224795"/>
                </a:cubicBezTo>
                <a:cubicBezTo>
                  <a:pt x="321200" y="216621"/>
                  <a:pt x="315137" y="205939"/>
                  <a:pt x="313220" y="194548"/>
                </a:cubicBezTo>
                <a:cubicBezTo>
                  <a:pt x="312203" y="188510"/>
                  <a:pt x="312220" y="181538"/>
                  <a:pt x="314726" y="174455"/>
                </a:cubicBezTo>
                <a:cubicBezTo>
                  <a:pt x="317291" y="167203"/>
                  <a:pt x="321975" y="161238"/>
                  <a:pt x="328054" y="156677"/>
                </a:cubicBezTo>
                <a:cubicBezTo>
                  <a:pt x="341296" y="146745"/>
                  <a:pt x="360751" y="124556"/>
                  <a:pt x="378004" y="103011"/>
                </a:cubicBezTo>
                <a:cubicBezTo>
                  <a:pt x="385882" y="93173"/>
                  <a:pt x="392922" y="83956"/>
                  <a:pt x="398163" y="76960"/>
                </a:cubicBezTo>
                <a:cubicBezTo>
                  <a:pt x="362214" y="54240"/>
                  <a:pt x="319611" y="41091"/>
                  <a:pt x="273940" y="41091"/>
                </a:cubicBezTo>
                <a:close/>
                <a:moveTo>
                  <a:pt x="430836" y="101884"/>
                </a:moveTo>
                <a:cubicBezTo>
                  <a:pt x="425423" y="109101"/>
                  <a:pt x="418191" y="118565"/>
                  <a:pt x="410077" y="128696"/>
                </a:cubicBezTo>
                <a:cubicBezTo>
                  <a:pt x="393594" y="149280"/>
                  <a:pt x="371744" y="174850"/>
                  <a:pt x="353933" y="188618"/>
                </a:cubicBezTo>
                <a:cubicBezTo>
                  <a:pt x="354629" y="191327"/>
                  <a:pt x="356680" y="195792"/>
                  <a:pt x="360918" y="202249"/>
                </a:cubicBezTo>
                <a:cubicBezTo>
                  <a:pt x="364510" y="207722"/>
                  <a:pt x="368613" y="213110"/>
                  <a:pt x="372944" y="218794"/>
                </a:cubicBezTo>
                <a:cubicBezTo>
                  <a:pt x="374111" y="220324"/>
                  <a:pt x="375303" y="221888"/>
                  <a:pt x="376494" y="223469"/>
                </a:cubicBezTo>
                <a:cubicBezTo>
                  <a:pt x="381217" y="229726"/>
                  <a:pt x="387762" y="238456"/>
                  <a:pt x="390764" y="246584"/>
                </a:cubicBezTo>
                <a:cubicBezTo>
                  <a:pt x="393125" y="252980"/>
                  <a:pt x="394821" y="260791"/>
                  <a:pt x="396166" y="267442"/>
                </a:cubicBezTo>
                <a:cubicBezTo>
                  <a:pt x="396640" y="269789"/>
                  <a:pt x="397078" y="272033"/>
                  <a:pt x="397500" y="274192"/>
                </a:cubicBezTo>
                <a:cubicBezTo>
                  <a:pt x="398199" y="277764"/>
                  <a:pt x="398853" y="281106"/>
                  <a:pt x="399549" y="284311"/>
                </a:cubicBezTo>
                <a:cubicBezTo>
                  <a:pt x="416032" y="279607"/>
                  <a:pt x="432471" y="282448"/>
                  <a:pt x="445297" y="292365"/>
                </a:cubicBezTo>
                <a:cubicBezTo>
                  <a:pt x="461969" y="305256"/>
                  <a:pt x="468930" y="327602"/>
                  <a:pt x="462402" y="349196"/>
                </a:cubicBezTo>
                <a:cubicBezTo>
                  <a:pt x="459405" y="359105"/>
                  <a:pt x="452430" y="367274"/>
                  <a:pt x="446974" y="372993"/>
                </a:cubicBezTo>
                <a:cubicBezTo>
                  <a:pt x="442344" y="377842"/>
                  <a:pt x="436794" y="382905"/>
                  <a:pt x="431762" y="387493"/>
                </a:cubicBezTo>
                <a:cubicBezTo>
                  <a:pt x="430518" y="388630"/>
                  <a:pt x="429296" y="389745"/>
                  <a:pt x="428137" y="390810"/>
                </a:cubicBezTo>
                <a:cubicBezTo>
                  <a:pt x="421837" y="396610"/>
                  <a:pt x="416539" y="401749"/>
                  <a:pt x="412580" y="406655"/>
                </a:cubicBezTo>
                <a:cubicBezTo>
                  <a:pt x="408510" y="411701"/>
                  <a:pt x="407233" y="414854"/>
                  <a:pt x="406954" y="416427"/>
                </a:cubicBezTo>
                <a:cubicBezTo>
                  <a:pt x="405891" y="422412"/>
                  <a:pt x="408806" y="430384"/>
                  <a:pt x="415942" y="439366"/>
                </a:cubicBezTo>
                <a:cubicBezTo>
                  <a:pt x="419177" y="443440"/>
                  <a:pt x="422623" y="446872"/>
                  <a:pt x="425297" y="449302"/>
                </a:cubicBezTo>
                <a:cubicBezTo>
                  <a:pt x="425612" y="449587"/>
                  <a:pt x="425916" y="449858"/>
                  <a:pt x="426201" y="450110"/>
                </a:cubicBezTo>
                <a:cubicBezTo>
                  <a:pt x="475559" y="407414"/>
                  <a:pt x="506788" y="344323"/>
                  <a:pt x="506788" y="273940"/>
                </a:cubicBezTo>
                <a:cubicBezTo>
                  <a:pt x="506788" y="205783"/>
                  <a:pt x="477504" y="144466"/>
                  <a:pt x="430836" y="101884"/>
                </a:cubicBezTo>
                <a:close/>
                <a:moveTo>
                  <a:pt x="41091" y="273940"/>
                </a:moveTo>
                <a:cubicBezTo>
                  <a:pt x="41091" y="312247"/>
                  <a:pt x="50341" y="348391"/>
                  <a:pt x="66729" y="380267"/>
                </a:cubicBezTo>
                <a:cubicBezTo>
                  <a:pt x="69055" y="364997"/>
                  <a:pt x="73908" y="346079"/>
                  <a:pt x="87210" y="331829"/>
                </a:cubicBezTo>
                <a:cubicBezTo>
                  <a:pt x="103641" y="314225"/>
                  <a:pt x="123797" y="310924"/>
                  <a:pt x="136468" y="308850"/>
                </a:cubicBezTo>
                <a:cubicBezTo>
                  <a:pt x="137735" y="308642"/>
                  <a:pt x="138935" y="308445"/>
                  <a:pt x="140042" y="308251"/>
                </a:cubicBezTo>
                <a:cubicBezTo>
                  <a:pt x="146827" y="307045"/>
                  <a:pt x="150751" y="305982"/>
                  <a:pt x="153778" y="304333"/>
                </a:cubicBezTo>
                <a:cubicBezTo>
                  <a:pt x="156203" y="303013"/>
                  <a:pt x="158923" y="300835"/>
                  <a:pt x="161676" y="295553"/>
                </a:cubicBezTo>
                <a:cubicBezTo>
                  <a:pt x="162083" y="294773"/>
                  <a:pt x="162835" y="292609"/>
                  <a:pt x="161798" y="286645"/>
                </a:cubicBezTo>
                <a:cubicBezTo>
                  <a:pt x="160910" y="281541"/>
                  <a:pt x="159244" y="276202"/>
                  <a:pt x="157065" y="269217"/>
                </a:cubicBezTo>
                <a:cubicBezTo>
                  <a:pt x="156552" y="267568"/>
                  <a:pt x="156003" y="265812"/>
                  <a:pt x="155436" y="263960"/>
                </a:cubicBezTo>
                <a:cubicBezTo>
                  <a:pt x="150364" y="247433"/>
                  <a:pt x="142257" y="220069"/>
                  <a:pt x="158722" y="195072"/>
                </a:cubicBezTo>
                <a:cubicBezTo>
                  <a:pt x="173011" y="173377"/>
                  <a:pt x="195996" y="167831"/>
                  <a:pt x="210586" y="164311"/>
                </a:cubicBezTo>
                <a:cubicBezTo>
                  <a:pt x="212168" y="163929"/>
                  <a:pt x="213651" y="163571"/>
                  <a:pt x="215014" y="163219"/>
                </a:cubicBezTo>
                <a:cubicBezTo>
                  <a:pt x="230435" y="159235"/>
                  <a:pt x="239210" y="155541"/>
                  <a:pt x="245357" y="142456"/>
                </a:cubicBezTo>
                <a:cubicBezTo>
                  <a:pt x="253446" y="125225"/>
                  <a:pt x="249967" y="101777"/>
                  <a:pt x="241354" y="78900"/>
                </a:cubicBezTo>
                <a:cubicBezTo>
                  <a:pt x="237273" y="68052"/>
                  <a:pt x="232482" y="58520"/>
                  <a:pt x="228688" y="51680"/>
                </a:cubicBezTo>
                <a:cubicBezTo>
                  <a:pt x="227496" y="49532"/>
                  <a:pt x="226414" y="47670"/>
                  <a:pt x="225499" y="46137"/>
                </a:cubicBezTo>
                <a:cubicBezTo>
                  <a:pt x="120149" y="68428"/>
                  <a:pt x="41091" y="161951"/>
                  <a:pt x="41091" y="273940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3600000" scaled="0"/>
          </a:gra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4" name="Graphic 107" descr="Equal Circle&#10;Keyword: fluent-icon;&#10;Metaphor: math, formula, export;&#10;&#10;Used in math completion scenarios.">
            <a:extLst>
              <a:ext uri="{FF2B5EF4-FFF2-40B4-BE49-F238E27FC236}">
                <a16:creationId xmlns:a16="http://schemas.microsoft.com/office/drawing/2014/main" id="{CAC3706C-1EF5-1BDC-F3E0-EF833E5AD720}"/>
              </a:ext>
            </a:extLst>
          </p:cNvPr>
          <p:cNvSpPr/>
          <p:nvPr/>
        </p:nvSpPr>
        <p:spPr>
          <a:xfrm>
            <a:off x="6282652" y="1942053"/>
            <a:ext cx="547879" cy="547879"/>
          </a:xfrm>
          <a:custGeom>
            <a:avLst/>
            <a:gdLst>
              <a:gd name="connsiteX0" fmla="*/ 390578 w 547879"/>
              <a:gd name="connsiteY0" fmla="*/ 232849 h 547879"/>
              <a:gd name="connsiteX1" fmla="*/ 411123 w 547879"/>
              <a:gd name="connsiteY1" fmla="*/ 212303 h 547879"/>
              <a:gd name="connsiteX2" fmla="*/ 390578 w 547879"/>
              <a:gd name="connsiteY2" fmla="*/ 191758 h 547879"/>
              <a:gd name="connsiteX3" fmla="*/ 158076 w 547879"/>
              <a:gd name="connsiteY3" fmla="*/ 191758 h 547879"/>
              <a:gd name="connsiteX4" fmla="*/ 137531 w 547879"/>
              <a:gd name="connsiteY4" fmla="*/ 212303 h 547879"/>
              <a:gd name="connsiteX5" fmla="*/ 158076 w 547879"/>
              <a:gd name="connsiteY5" fmla="*/ 232849 h 547879"/>
              <a:gd name="connsiteX6" fmla="*/ 390578 w 547879"/>
              <a:gd name="connsiteY6" fmla="*/ 232849 h 547879"/>
              <a:gd name="connsiteX7" fmla="*/ 390578 w 547879"/>
              <a:gd name="connsiteY7" fmla="*/ 356121 h 547879"/>
              <a:gd name="connsiteX8" fmla="*/ 411123 w 547879"/>
              <a:gd name="connsiteY8" fmla="*/ 335576 h 547879"/>
              <a:gd name="connsiteX9" fmla="*/ 390578 w 547879"/>
              <a:gd name="connsiteY9" fmla="*/ 315031 h 547879"/>
              <a:gd name="connsiteX10" fmla="*/ 158076 w 547879"/>
              <a:gd name="connsiteY10" fmla="*/ 315031 h 547879"/>
              <a:gd name="connsiteX11" fmla="*/ 137531 w 547879"/>
              <a:gd name="connsiteY11" fmla="*/ 335576 h 547879"/>
              <a:gd name="connsiteX12" fmla="*/ 158076 w 547879"/>
              <a:gd name="connsiteY12" fmla="*/ 356121 h 547879"/>
              <a:gd name="connsiteX13" fmla="*/ 390578 w 547879"/>
              <a:gd name="connsiteY13" fmla="*/ 356121 h 547879"/>
              <a:gd name="connsiteX14" fmla="*/ 547879 w 547879"/>
              <a:gd name="connsiteY14" fmla="*/ 273940 h 547879"/>
              <a:gd name="connsiteX15" fmla="*/ 273940 w 547879"/>
              <a:gd name="connsiteY15" fmla="*/ 0 h 547879"/>
              <a:gd name="connsiteX16" fmla="*/ 0 w 547879"/>
              <a:gd name="connsiteY16" fmla="*/ 273940 h 547879"/>
              <a:gd name="connsiteX17" fmla="*/ 273940 w 547879"/>
              <a:gd name="connsiteY17" fmla="*/ 547879 h 547879"/>
              <a:gd name="connsiteX18" fmla="*/ 547879 w 547879"/>
              <a:gd name="connsiteY18" fmla="*/ 273940 h 547879"/>
              <a:gd name="connsiteX19" fmla="*/ 273940 w 547879"/>
              <a:gd name="connsiteY19" fmla="*/ 41091 h 547879"/>
              <a:gd name="connsiteX20" fmla="*/ 506788 w 547879"/>
              <a:gd name="connsiteY20" fmla="*/ 273940 h 547879"/>
              <a:gd name="connsiteX21" fmla="*/ 273940 w 547879"/>
              <a:gd name="connsiteY21" fmla="*/ 506788 h 547879"/>
              <a:gd name="connsiteX22" fmla="*/ 41091 w 547879"/>
              <a:gd name="connsiteY22" fmla="*/ 273940 h 547879"/>
              <a:gd name="connsiteX23" fmla="*/ 273940 w 547879"/>
              <a:gd name="connsiteY23" fmla="*/ 41091 h 547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547879" h="547879">
                <a:moveTo>
                  <a:pt x="390578" y="232849"/>
                </a:moveTo>
                <a:cubicBezTo>
                  <a:pt x="401924" y="232849"/>
                  <a:pt x="411123" y="223650"/>
                  <a:pt x="411123" y="212303"/>
                </a:cubicBezTo>
                <a:cubicBezTo>
                  <a:pt x="411123" y="200956"/>
                  <a:pt x="401924" y="191758"/>
                  <a:pt x="390578" y="191758"/>
                </a:cubicBezTo>
                <a:lnTo>
                  <a:pt x="158076" y="191758"/>
                </a:lnTo>
                <a:cubicBezTo>
                  <a:pt x="146729" y="191758"/>
                  <a:pt x="137531" y="200956"/>
                  <a:pt x="137531" y="212303"/>
                </a:cubicBezTo>
                <a:cubicBezTo>
                  <a:pt x="137531" y="223650"/>
                  <a:pt x="146729" y="232849"/>
                  <a:pt x="158076" y="232849"/>
                </a:cubicBezTo>
                <a:lnTo>
                  <a:pt x="390578" y="232849"/>
                </a:lnTo>
                <a:close/>
                <a:moveTo>
                  <a:pt x="390578" y="356121"/>
                </a:moveTo>
                <a:cubicBezTo>
                  <a:pt x="401924" y="356121"/>
                  <a:pt x="411123" y="346923"/>
                  <a:pt x="411123" y="335576"/>
                </a:cubicBezTo>
                <a:cubicBezTo>
                  <a:pt x="411123" y="324229"/>
                  <a:pt x="401924" y="315031"/>
                  <a:pt x="390578" y="315031"/>
                </a:cubicBezTo>
                <a:lnTo>
                  <a:pt x="158076" y="315031"/>
                </a:lnTo>
                <a:cubicBezTo>
                  <a:pt x="146729" y="315031"/>
                  <a:pt x="137531" y="324229"/>
                  <a:pt x="137531" y="335576"/>
                </a:cubicBezTo>
                <a:cubicBezTo>
                  <a:pt x="137531" y="346923"/>
                  <a:pt x="146729" y="356121"/>
                  <a:pt x="158076" y="356121"/>
                </a:cubicBezTo>
                <a:lnTo>
                  <a:pt x="390578" y="356121"/>
                </a:lnTo>
                <a:close/>
                <a:moveTo>
                  <a:pt x="547879" y="273940"/>
                </a:moveTo>
                <a:cubicBezTo>
                  <a:pt x="547879" y="122647"/>
                  <a:pt x="425231" y="0"/>
                  <a:pt x="273940" y="0"/>
                </a:cubicBezTo>
                <a:cubicBezTo>
                  <a:pt x="122647" y="0"/>
                  <a:pt x="0" y="122647"/>
                  <a:pt x="0" y="273940"/>
                </a:cubicBezTo>
                <a:cubicBezTo>
                  <a:pt x="0" y="425231"/>
                  <a:pt x="122647" y="547879"/>
                  <a:pt x="273940" y="547879"/>
                </a:cubicBezTo>
                <a:cubicBezTo>
                  <a:pt x="425231" y="547879"/>
                  <a:pt x="547879" y="425231"/>
                  <a:pt x="547879" y="273940"/>
                </a:cubicBezTo>
                <a:close/>
                <a:moveTo>
                  <a:pt x="273940" y="41091"/>
                </a:moveTo>
                <a:cubicBezTo>
                  <a:pt x="402538" y="41091"/>
                  <a:pt x="506788" y="145341"/>
                  <a:pt x="506788" y="273940"/>
                </a:cubicBezTo>
                <a:cubicBezTo>
                  <a:pt x="506788" y="402538"/>
                  <a:pt x="402538" y="506788"/>
                  <a:pt x="273940" y="506788"/>
                </a:cubicBezTo>
                <a:cubicBezTo>
                  <a:pt x="145341" y="506788"/>
                  <a:pt x="41091" y="402538"/>
                  <a:pt x="41091" y="273940"/>
                </a:cubicBezTo>
                <a:cubicBezTo>
                  <a:pt x="41091" y="145341"/>
                  <a:pt x="145341" y="41091"/>
                  <a:pt x="273940" y="41091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3600000" scaled="0"/>
          </a:gra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5" name="Graphic 109" descr="Error Circle&#10;Keyword: fluent-icon;&#10;Metaphor: exclamation, alert;&#10;&#10;Used to indicate an error.">
            <a:extLst>
              <a:ext uri="{FF2B5EF4-FFF2-40B4-BE49-F238E27FC236}">
                <a16:creationId xmlns:a16="http://schemas.microsoft.com/office/drawing/2014/main" id="{A9B2E40A-2993-BB31-8379-8534B02D5A89}"/>
              </a:ext>
            </a:extLst>
          </p:cNvPr>
          <p:cNvSpPr/>
          <p:nvPr/>
        </p:nvSpPr>
        <p:spPr>
          <a:xfrm>
            <a:off x="7225361" y="1942053"/>
            <a:ext cx="547879" cy="547879"/>
          </a:xfrm>
          <a:custGeom>
            <a:avLst/>
            <a:gdLst>
              <a:gd name="connsiteX0" fmla="*/ 273940 w 547879"/>
              <a:gd name="connsiteY0" fmla="*/ 0 h 547879"/>
              <a:gd name="connsiteX1" fmla="*/ 547879 w 547879"/>
              <a:gd name="connsiteY1" fmla="*/ 273940 h 547879"/>
              <a:gd name="connsiteX2" fmla="*/ 273940 w 547879"/>
              <a:gd name="connsiteY2" fmla="*/ 547879 h 547879"/>
              <a:gd name="connsiteX3" fmla="*/ 0 w 547879"/>
              <a:gd name="connsiteY3" fmla="*/ 273940 h 547879"/>
              <a:gd name="connsiteX4" fmla="*/ 273940 w 547879"/>
              <a:gd name="connsiteY4" fmla="*/ 0 h 547879"/>
              <a:gd name="connsiteX5" fmla="*/ 273940 w 547879"/>
              <a:gd name="connsiteY5" fmla="*/ 45666 h 547879"/>
              <a:gd name="connsiteX6" fmla="*/ 45666 w 547879"/>
              <a:gd name="connsiteY6" fmla="*/ 273940 h 547879"/>
              <a:gd name="connsiteX7" fmla="*/ 273940 w 547879"/>
              <a:gd name="connsiteY7" fmla="*/ 502213 h 547879"/>
              <a:gd name="connsiteX8" fmla="*/ 502213 w 547879"/>
              <a:gd name="connsiteY8" fmla="*/ 273940 h 547879"/>
              <a:gd name="connsiteX9" fmla="*/ 273940 w 547879"/>
              <a:gd name="connsiteY9" fmla="*/ 45666 h 547879"/>
              <a:gd name="connsiteX10" fmla="*/ 273904 w 547879"/>
              <a:gd name="connsiteY10" fmla="*/ 342485 h 547879"/>
              <a:gd name="connsiteX11" fmla="*/ 301260 w 547879"/>
              <a:gd name="connsiteY11" fmla="*/ 369843 h 547879"/>
              <a:gd name="connsiteX12" fmla="*/ 273904 w 547879"/>
              <a:gd name="connsiteY12" fmla="*/ 397201 h 547879"/>
              <a:gd name="connsiteX13" fmla="*/ 246546 w 547879"/>
              <a:gd name="connsiteY13" fmla="*/ 369843 h 547879"/>
              <a:gd name="connsiteX14" fmla="*/ 273904 w 547879"/>
              <a:gd name="connsiteY14" fmla="*/ 342485 h 547879"/>
              <a:gd name="connsiteX15" fmla="*/ 273789 w 547879"/>
              <a:gd name="connsiteY15" fmla="*/ 136970 h 547879"/>
              <a:gd name="connsiteX16" fmla="*/ 294159 w 547879"/>
              <a:gd name="connsiteY16" fmla="*/ 154711 h 547879"/>
              <a:gd name="connsiteX17" fmla="*/ 294351 w 547879"/>
              <a:gd name="connsiteY17" fmla="*/ 157499 h 547879"/>
              <a:gd name="connsiteX18" fmla="*/ 294449 w 547879"/>
              <a:gd name="connsiteY18" fmla="*/ 280815 h 547879"/>
              <a:gd name="connsiteX19" fmla="*/ 273920 w 547879"/>
              <a:gd name="connsiteY19" fmla="*/ 301377 h 547879"/>
              <a:gd name="connsiteX20" fmla="*/ 253548 w 547879"/>
              <a:gd name="connsiteY20" fmla="*/ 283637 h 547879"/>
              <a:gd name="connsiteX21" fmla="*/ 253359 w 547879"/>
              <a:gd name="connsiteY21" fmla="*/ 280848 h 547879"/>
              <a:gd name="connsiteX22" fmla="*/ 253260 w 547879"/>
              <a:gd name="connsiteY22" fmla="*/ 157532 h 547879"/>
              <a:gd name="connsiteX23" fmla="*/ 273789 w 547879"/>
              <a:gd name="connsiteY23" fmla="*/ 136970 h 547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547879" h="547879">
                <a:moveTo>
                  <a:pt x="273940" y="0"/>
                </a:moveTo>
                <a:cubicBezTo>
                  <a:pt x="425236" y="0"/>
                  <a:pt x="547879" y="122670"/>
                  <a:pt x="547879" y="273940"/>
                </a:cubicBezTo>
                <a:cubicBezTo>
                  <a:pt x="547879" y="425209"/>
                  <a:pt x="425236" y="547879"/>
                  <a:pt x="273940" y="547879"/>
                </a:cubicBezTo>
                <a:cubicBezTo>
                  <a:pt x="122643" y="547879"/>
                  <a:pt x="0" y="425209"/>
                  <a:pt x="0" y="273940"/>
                </a:cubicBezTo>
                <a:cubicBezTo>
                  <a:pt x="0" y="122670"/>
                  <a:pt x="122643" y="0"/>
                  <a:pt x="273940" y="0"/>
                </a:cubicBezTo>
                <a:close/>
                <a:moveTo>
                  <a:pt x="273940" y="45666"/>
                </a:moveTo>
                <a:cubicBezTo>
                  <a:pt x="148064" y="45666"/>
                  <a:pt x="45666" y="148064"/>
                  <a:pt x="45666" y="273940"/>
                </a:cubicBezTo>
                <a:cubicBezTo>
                  <a:pt x="45666" y="399815"/>
                  <a:pt x="148064" y="502213"/>
                  <a:pt x="273940" y="502213"/>
                </a:cubicBezTo>
                <a:cubicBezTo>
                  <a:pt x="399815" y="502213"/>
                  <a:pt x="502213" y="399815"/>
                  <a:pt x="502213" y="273940"/>
                </a:cubicBezTo>
                <a:cubicBezTo>
                  <a:pt x="502213" y="148064"/>
                  <a:pt x="399815" y="45666"/>
                  <a:pt x="273940" y="45666"/>
                </a:cubicBezTo>
                <a:close/>
                <a:moveTo>
                  <a:pt x="273904" y="342485"/>
                </a:moveTo>
                <a:cubicBezTo>
                  <a:pt x="289012" y="342485"/>
                  <a:pt x="301260" y="354735"/>
                  <a:pt x="301260" y="369843"/>
                </a:cubicBezTo>
                <a:cubicBezTo>
                  <a:pt x="301260" y="384951"/>
                  <a:pt x="289012" y="397201"/>
                  <a:pt x="273904" y="397201"/>
                </a:cubicBezTo>
                <a:cubicBezTo>
                  <a:pt x="258793" y="397201"/>
                  <a:pt x="246546" y="384951"/>
                  <a:pt x="246546" y="369843"/>
                </a:cubicBezTo>
                <a:cubicBezTo>
                  <a:pt x="246546" y="354735"/>
                  <a:pt x="258793" y="342485"/>
                  <a:pt x="273904" y="342485"/>
                </a:cubicBezTo>
                <a:close/>
                <a:moveTo>
                  <a:pt x="273789" y="136970"/>
                </a:moveTo>
                <a:cubicBezTo>
                  <a:pt x="284190" y="136962"/>
                  <a:pt x="292792" y="144684"/>
                  <a:pt x="294159" y="154711"/>
                </a:cubicBezTo>
                <a:lnTo>
                  <a:pt x="294351" y="157499"/>
                </a:lnTo>
                <a:lnTo>
                  <a:pt x="294449" y="280815"/>
                </a:lnTo>
                <a:cubicBezTo>
                  <a:pt x="294458" y="292162"/>
                  <a:pt x="285267" y="301369"/>
                  <a:pt x="273920" y="301377"/>
                </a:cubicBezTo>
                <a:cubicBezTo>
                  <a:pt x="263519" y="301386"/>
                  <a:pt x="254914" y="293663"/>
                  <a:pt x="253548" y="283637"/>
                </a:cubicBezTo>
                <a:lnTo>
                  <a:pt x="253359" y="280848"/>
                </a:lnTo>
                <a:lnTo>
                  <a:pt x="253260" y="157532"/>
                </a:lnTo>
                <a:cubicBezTo>
                  <a:pt x="253249" y="146185"/>
                  <a:pt x="262440" y="136979"/>
                  <a:pt x="273789" y="136970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3600000" scaled="0"/>
          </a:gra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6" name="Graphic 111" descr="Eye Dropper&#10;Keyword: fluent-icon;&#10;Metaphor: drop, selection, color;&#10;&#10;Used in color picking scenarios.">
            <a:extLst>
              <a:ext uri="{FF2B5EF4-FFF2-40B4-BE49-F238E27FC236}">
                <a16:creationId xmlns:a16="http://schemas.microsoft.com/office/drawing/2014/main" id="{F5444321-0734-2A94-4419-67F637B3E3CA}"/>
              </a:ext>
            </a:extLst>
          </p:cNvPr>
          <p:cNvSpPr/>
          <p:nvPr/>
        </p:nvSpPr>
        <p:spPr>
          <a:xfrm>
            <a:off x="8167990" y="1939900"/>
            <a:ext cx="550107" cy="550111"/>
          </a:xfrm>
          <a:custGeom>
            <a:avLst/>
            <a:gdLst>
              <a:gd name="connsiteX0" fmla="*/ 521396 w 550107"/>
              <a:gd name="connsiteY0" fmla="*/ 28711 h 550111"/>
              <a:gd name="connsiteX1" fmla="*/ 382766 w 550107"/>
              <a:gd name="connsiteY1" fmla="*/ 28711 h 550111"/>
              <a:gd name="connsiteX2" fmla="*/ 328808 w 550107"/>
              <a:gd name="connsiteY2" fmla="*/ 82669 h 550111"/>
              <a:gd name="connsiteX3" fmla="*/ 328463 w 550107"/>
              <a:gd name="connsiteY3" fmla="*/ 82325 h 550111"/>
              <a:gd name="connsiteX4" fmla="*/ 260665 w 550107"/>
              <a:gd name="connsiteY4" fmla="*/ 82325 h 550111"/>
              <a:gd name="connsiteX5" fmla="*/ 244621 w 550107"/>
              <a:gd name="connsiteY5" fmla="*/ 98372 h 550111"/>
              <a:gd name="connsiteX6" fmla="*/ 244621 w 550107"/>
              <a:gd name="connsiteY6" fmla="*/ 166169 h 550111"/>
              <a:gd name="connsiteX7" fmla="*/ 244966 w 550107"/>
              <a:gd name="connsiteY7" fmla="*/ 166515 h 550111"/>
              <a:gd name="connsiteX8" fmla="*/ 59228 w 550107"/>
              <a:gd name="connsiteY8" fmla="*/ 352254 h 550111"/>
              <a:gd name="connsiteX9" fmla="*/ 41175 w 550107"/>
              <a:gd name="connsiteY9" fmla="*/ 395835 h 550111"/>
              <a:gd name="connsiteX10" fmla="*/ 41175 w 550107"/>
              <a:gd name="connsiteY10" fmla="*/ 414668 h 550111"/>
              <a:gd name="connsiteX11" fmla="*/ 6102 w 550107"/>
              <a:gd name="connsiteY11" fmla="*/ 478967 h 550111"/>
              <a:gd name="connsiteX12" fmla="*/ 71143 w 550107"/>
              <a:gd name="connsiteY12" fmla="*/ 544009 h 550111"/>
              <a:gd name="connsiteX13" fmla="*/ 135444 w 550107"/>
              <a:gd name="connsiteY13" fmla="*/ 508936 h 550111"/>
              <a:gd name="connsiteX14" fmla="*/ 154276 w 550107"/>
              <a:gd name="connsiteY14" fmla="*/ 508936 h 550111"/>
              <a:gd name="connsiteX15" fmla="*/ 197859 w 550107"/>
              <a:gd name="connsiteY15" fmla="*/ 490884 h 550111"/>
              <a:gd name="connsiteX16" fmla="*/ 383598 w 550107"/>
              <a:gd name="connsiteY16" fmla="*/ 305147 h 550111"/>
              <a:gd name="connsiteX17" fmla="*/ 383938 w 550107"/>
              <a:gd name="connsiteY17" fmla="*/ 305490 h 550111"/>
              <a:gd name="connsiteX18" fmla="*/ 451735 w 550107"/>
              <a:gd name="connsiteY18" fmla="*/ 305490 h 550111"/>
              <a:gd name="connsiteX19" fmla="*/ 467783 w 550107"/>
              <a:gd name="connsiteY19" fmla="*/ 289442 h 550111"/>
              <a:gd name="connsiteX20" fmla="*/ 467783 w 550107"/>
              <a:gd name="connsiteY20" fmla="*/ 221645 h 550111"/>
              <a:gd name="connsiteX21" fmla="*/ 467438 w 550107"/>
              <a:gd name="connsiteY21" fmla="*/ 221301 h 550111"/>
              <a:gd name="connsiteX22" fmla="*/ 521396 w 550107"/>
              <a:gd name="connsiteY22" fmla="*/ 167343 h 550111"/>
              <a:gd name="connsiteX23" fmla="*/ 521396 w 550107"/>
              <a:gd name="connsiteY23" fmla="*/ 28711 h 550111"/>
              <a:gd name="connsiteX24" fmla="*/ 411820 w 550107"/>
              <a:gd name="connsiteY24" fmla="*/ 57767 h 550111"/>
              <a:gd name="connsiteX25" fmla="*/ 492341 w 550107"/>
              <a:gd name="connsiteY25" fmla="*/ 57767 h 550111"/>
              <a:gd name="connsiteX26" fmla="*/ 492341 w 550107"/>
              <a:gd name="connsiteY26" fmla="*/ 138287 h 550111"/>
              <a:gd name="connsiteX27" fmla="*/ 423857 w 550107"/>
              <a:gd name="connsiteY27" fmla="*/ 206773 h 550111"/>
              <a:gd name="connsiteX28" fmla="*/ 423857 w 550107"/>
              <a:gd name="connsiteY28" fmla="*/ 235830 h 550111"/>
              <a:gd name="connsiteX29" fmla="*/ 438726 w 550107"/>
              <a:gd name="connsiteY29" fmla="*/ 250702 h 550111"/>
              <a:gd name="connsiteX30" fmla="*/ 438726 w 550107"/>
              <a:gd name="connsiteY30" fmla="*/ 260385 h 550111"/>
              <a:gd name="connsiteX31" fmla="*/ 422681 w 550107"/>
              <a:gd name="connsiteY31" fmla="*/ 276433 h 550111"/>
              <a:gd name="connsiteX32" fmla="*/ 412995 w 550107"/>
              <a:gd name="connsiteY32" fmla="*/ 276433 h 550111"/>
              <a:gd name="connsiteX33" fmla="*/ 273675 w 550107"/>
              <a:gd name="connsiteY33" fmla="*/ 137113 h 550111"/>
              <a:gd name="connsiteX34" fmla="*/ 273675 w 550107"/>
              <a:gd name="connsiteY34" fmla="*/ 127428 h 550111"/>
              <a:gd name="connsiteX35" fmla="*/ 289722 w 550107"/>
              <a:gd name="connsiteY35" fmla="*/ 111381 h 550111"/>
              <a:gd name="connsiteX36" fmla="*/ 299409 w 550107"/>
              <a:gd name="connsiteY36" fmla="*/ 111381 h 550111"/>
              <a:gd name="connsiteX37" fmla="*/ 314281 w 550107"/>
              <a:gd name="connsiteY37" fmla="*/ 126253 h 550111"/>
              <a:gd name="connsiteX38" fmla="*/ 343335 w 550107"/>
              <a:gd name="connsiteY38" fmla="*/ 126253 h 550111"/>
              <a:gd name="connsiteX39" fmla="*/ 411820 w 550107"/>
              <a:gd name="connsiteY39" fmla="*/ 57767 h 550111"/>
              <a:gd name="connsiteX40" fmla="*/ 354542 w 550107"/>
              <a:gd name="connsiteY40" fmla="*/ 276090 h 550111"/>
              <a:gd name="connsiteX41" fmla="*/ 168803 w 550107"/>
              <a:gd name="connsiteY41" fmla="*/ 461830 h 550111"/>
              <a:gd name="connsiteX42" fmla="*/ 154276 w 550107"/>
              <a:gd name="connsiteY42" fmla="*/ 467845 h 550111"/>
              <a:gd name="connsiteX43" fmla="*/ 130205 w 550107"/>
              <a:gd name="connsiteY43" fmla="*/ 467845 h 550111"/>
              <a:gd name="connsiteX44" fmla="*/ 120367 w 550107"/>
              <a:gd name="connsiteY44" fmla="*/ 470355 h 550111"/>
              <a:gd name="connsiteX45" fmla="*/ 51467 w 550107"/>
              <a:gd name="connsiteY45" fmla="*/ 507936 h 550111"/>
              <a:gd name="connsiteX46" fmla="*/ 47116 w 550107"/>
              <a:gd name="connsiteY46" fmla="*/ 508829 h 550111"/>
              <a:gd name="connsiteX47" fmla="*/ 43345 w 550107"/>
              <a:gd name="connsiteY47" fmla="*/ 506767 h 550111"/>
              <a:gd name="connsiteX48" fmla="*/ 41282 w 550107"/>
              <a:gd name="connsiteY48" fmla="*/ 502997 h 550111"/>
              <a:gd name="connsiteX49" fmla="*/ 42175 w 550107"/>
              <a:gd name="connsiteY49" fmla="*/ 498644 h 550111"/>
              <a:gd name="connsiteX50" fmla="*/ 79757 w 550107"/>
              <a:gd name="connsiteY50" fmla="*/ 429746 h 550111"/>
              <a:gd name="connsiteX51" fmla="*/ 82266 w 550107"/>
              <a:gd name="connsiteY51" fmla="*/ 419906 h 550111"/>
              <a:gd name="connsiteX52" fmla="*/ 82266 w 550107"/>
              <a:gd name="connsiteY52" fmla="*/ 395835 h 550111"/>
              <a:gd name="connsiteX53" fmla="*/ 88284 w 550107"/>
              <a:gd name="connsiteY53" fmla="*/ 381308 h 550111"/>
              <a:gd name="connsiteX54" fmla="*/ 274023 w 550107"/>
              <a:gd name="connsiteY54" fmla="*/ 195570 h 550111"/>
              <a:gd name="connsiteX55" fmla="*/ 354542 w 550107"/>
              <a:gd name="connsiteY55" fmla="*/ 276090 h 5501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550107" h="550111">
                <a:moveTo>
                  <a:pt x="521396" y="28711"/>
                </a:moveTo>
                <a:cubicBezTo>
                  <a:pt x="483115" y="-9570"/>
                  <a:pt x="421046" y="-9570"/>
                  <a:pt x="382766" y="28711"/>
                </a:cubicBezTo>
                <a:lnTo>
                  <a:pt x="328808" y="82669"/>
                </a:lnTo>
                <a:lnTo>
                  <a:pt x="328463" y="82325"/>
                </a:lnTo>
                <a:cubicBezTo>
                  <a:pt x="309742" y="63603"/>
                  <a:pt x="279389" y="63603"/>
                  <a:pt x="260665" y="82325"/>
                </a:cubicBezTo>
                <a:lnTo>
                  <a:pt x="244621" y="98372"/>
                </a:lnTo>
                <a:cubicBezTo>
                  <a:pt x="225897" y="117093"/>
                  <a:pt x="225897" y="147447"/>
                  <a:pt x="244621" y="166169"/>
                </a:cubicBezTo>
                <a:lnTo>
                  <a:pt x="244966" y="166515"/>
                </a:lnTo>
                <a:lnTo>
                  <a:pt x="59228" y="352254"/>
                </a:lnTo>
                <a:cubicBezTo>
                  <a:pt x="47669" y="363811"/>
                  <a:pt x="41175" y="379489"/>
                  <a:pt x="41175" y="395835"/>
                </a:cubicBezTo>
                <a:lnTo>
                  <a:pt x="41175" y="414668"/>
                </a:lnTo>
                <a:lnTo>
                  <a:pt x="6102" y="478967"/>
                </a:lnTo>
                <a:cubicBezTo>
                  <a:pt x="-16800" y="520954"/>
                  <a:pt x="29156" y="566913"/>
                  <a:pt x="71143" y="544009"/>
                </a:cubicBezTo>
                <a:lnTo>
                  <a:pt x="135444" y="508936"/>
                </a:lnTo>
                <a:lnTo>
                  <a:pt x="154276" y="508936"/>
                </a:lnTo>
                <a:cubicBezTo>
                  <a:pt x="170623" y="508936"/>
                  <a:pt x="186300" y="502444"/>
                  <a:pt x="197859" y="490884"/>
                </a:cubicBezTo>
                <a:lnTo>
                  <a:pt x="383598" y="305147"/>
                </a:lnTo>
                <a:lnTo>
                  <a:pt x="383938" y="305490"/>
                </a:lnTo>
                <a:cubicBezTo>
                  <a:pt x="402662" y="324211"/>
                  <a:pt x="433014" y="324211"/>
                  <a:pt x="451735" y="305490"/>
                </a:cubicBezTo>
                <a:lnTo>
                  <a:pt x="467783" y="289442"/>
                </a:lnTo>
                <a:cubicBezTo>
                  <a:pt x="486504" y="270721"/>
                  <a:pt x="486504" y="240366"/>
                  <a:pt x="467783" y="221645"/>
                </a:cubicBezTo>
                <a:lnTo>
                  <a:pt x="467438" y="221301"/>
                </a:lnTo>
                <a:lnTo>
                  <a:pt x="521396" y="167343"/>
                </a:lnTo>
                <a:cubicBezTo>
                  <a:pt x="559679" y="129061"/>
                  <a:pt x="559679" y="66994"/>
                  <a:pt x="521396" y="28711"/>
                </a:cubicBezTo>
                <a:close/>
                <a:moveTo>
                  <a:pt x="411820" y="57767"/>
                </a:moveTo>
                <a:cubicBezTo>
                  <a:pt x="434055" y="35532"/>
                  <a:pt x="470106" y="35532"/>
                  <a:pt x="492341" y="57767"/>
                </a:cubicBezTo>
                <a:cubicBezTo>
                  <a:pt x="514574" y="80002"/>
                  <a:pt x="514574" y="116052"/>
                  <a:pt x="492341" y="138287"/>
                </a:cubicBezTo>
                <a:lnTo>
                  <a:pt x="423857" y="206773"/>
                </a:lnTo>
                <a:cubicBezTo>
                  <a:pt x="415833" y="214796"/>
                  <a:pt x="415833" y="227806"/>
                  <a:pt x="423857" y="235830"/>
                </a:cubicBezTo>
                <a:lnTo>
                  <a:pt x="438726" y="250702"/>
                </a:lnTo>
                <a:cubicBezTo>
                  <a:pt x="441402" y="253375"/>
                  <a:pt x="441402" y="257712"/>
                  <a:pt x="438726" y="260385"/>
                </a:cubicBezTo>
                <a:lnTo>
                  <a:pt x="422681" y="276433"/>
                </a:lnTo>
                <a:cubicBezTo>
                  <a:pt x="420005" y="279106"/>
                  <a:pt x="415669" y="279106"/>
                  <a:pt x="412995" y="276433"/>
                </a:cubicBezTo>
                <a:lnTo>
                  <a:pt x="273675" y="137113"/>
                </a:lnTo>
                <a:cubicBezTo>
                  <a:pt x="271001" y="134438"/>
                  <a:pt x="271001" y="130102"/>
                  <a:pt x="273675" y="127428"/>
                </a:cubicBezTo>
                <a:lnTo>
                  <a:pt x="289722" y="111381"/>
                </a:lnTo>
                <a:cubicBezTo>
                  <a:pt x="292396" y="108706"/>
                  <a:pt x="296732" y="108706"/>
                  <a:pt x="299409" y="111381"/>
                </a:cubicBezTo>
                <a:lnTo>
                  <a:pt x="314281" y="126253"/>
                </a:lnTo>
                <a:cubicBezTo>
                  <a:pt x="322302" y="134276"/>
                  <a:pt x="335311" y="134276"/>
                  <a:pt x="343335" y="126253"/>
                </a:cubicBezTo>
                <a:lnTo>
                  <a:pt x="411820" y="57767"/>
                </a:lnTo>
                <a:close/>
                <a:moveTo>
                  <a:pt x="354542" y="276090"/>
                </a:moveTo>
                <a:lnTo>
                  <a:pt x="168803" y="461830"/>
                </a:lnTo>
                <a:cubicBezTo>
                  <a:pt x="164951" y="465681"/>
                  <a:pt x="159725" y="467845"/>
                  <a:pt x="154276" y="467845"/>
                </a:cubicBezTo>
                <a:lnTo>
                  <a:pt x="130205" y="467845"/>
                </a:lnTo>
                <a:cubicBezTo>
                  <a:pt x="126768" y="467845"/>
                  <a:pt x="123385" y="468708"/>
                  <a:pt x="120367" y="470355"/>
                </a:cubicBezTo>
                <a:lnTo>
                  <a:pt x="51467" y="507936"/>
                </a:lnTo>
                <a:cubicBezTo>
                  <a:pt x="49573" y="508969"/>
                  <a:pt x="48167" y="509016"/>
                  <a:pt x="47116" y="508829"/>
                </a:cubicBezTo>
                <a:cubicBezTo>
                  <a:pt x="45890" y="508613"/>
                  <a:pt x="44522" y="507945"/>
                  <a:pt x="43345" y="506767"/>
                </a:cubicBezTo>
                <a:cubicBezTo>
                  <a:pt x="42168" y="505589"/>
                  <a:pt x="41499" y="504222"/>
                  <a:pt x="41282" y="502997"/>
                </a:cubicBezTo>
                <a:cubicBezTo>
                  <a:pt x="41096" y="501945"/>
                  <a:pt x="41142" y="500537"/>
                  <a:pt x="42175" y="498644"/>
                </a:cubicBezTo>
                <a:lnTo>
                  <a:pt x="79757" y="429746"/>
                </a:lnTo>
                <a:cubicBezTo>
                  <a:pt x="81403" y="426727"/>
                  <a:pt x="82266" y="423344"/>
                  <a:pt x="82266" y="419906"/>
                </a:cubicBezTo>
                <a:lnTo>
                  <a:pt x="82266" y="395835"/>
                </a:lnTo>
                <a:cubicBezTo>
                  <a:pt x="82266" y="390386"/>
                  <a:pt x="84430" y="385162"/>
                  <a:pt x="88284" y="381308"/>
                </a:cubicBezTo>
                <a:lnTo>
                  <a:pt x="274023" y="195570"/>
                </a:lnTo>
                <a:lnTo>
                  <a:pt x="354542" y="27609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3600000" scaled="0"/>
          </a:gra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7" name="Graphic 113" descr="Fluid&#10;Keyword: fluent-icon;&#10;Metaphor: adaptive, cross channel;&#10;&#10;Used to represent intelligence components, where they can be updated across products.">
            <a:extLst>
              <a:ext uri="{FF2B5EF4-FFF2-40B4-BE49-F238E27FC236}">
                <a16:creationId xmlns:a16="http://schemas.microsoft.com/office/drawing/2014/main" id="{DF0199B5-DD32-1F38-558A-DDDBB3C7C76E}"/>
              </a:ext>
            </a:extLst>
          </p:cNvPr>
          <p:cNvSpPr/>
          <p:nvPr/>
        </p:nvSpPr>
        <p:spPr>
          <a:xfrm>
            <a:off x="9086668" y="1942053"/>
            <a:ext cx="547879" cy="547879"/>
          </a:xfrm>
          <a:custGeom>
            <a:avLst/>
            <a:gdLst>
              <a:gd name="connsiteX0" fmla="*/ 246546 w 547879"/>
              <a:gd name="connsiteY0" fmla="*/ 82182 h 547879"/>
              <a:gd name="connsiteX1" fmla="*/ 403924 w 547879"/>
              <a:gd name="connsiteY1" fmla="*/ 82182 h 547879"/>
              <a:gd name="connsiteX2" fmla="*/ 465560 w 547879"/>
              <a:gd name="connsiteY2" fmla="*/ 143818 h 547879"/>
              <a:gd name="connsiteX3" fmla="*/ 465560 w 547879"/>
              <a:gd name="connsiteY3" fmla="*/ 246546 h 547879"/>
              <a:gd name="connsiteX4" fmla="*/ 424469 w 547879"/>
              <a:gd name="connsiteY4" fmla="*/ 246546 h 547879"/>
              <a:gd name="connsiteX5" fmla="*/ 424469 w 547879"/>
              <a:gd name="connsiteY5" fmla="*/ 143818 h 547879"/>
              <a:gd name="connsiteX6" fmla="*/ 403924 w 547879"/>
              <a:gd name="connsiteY6" fmla="*/ 123273 h 547879"/>
              <a:gd name="connsiteX7" fmla="*/ 246546 w 547879"/>
              <a:gd name="connsiteY7" fmla="*/ 123273 h 547879"/>
              <a:gd name="connsiteX8" fmla="*/ 246546 w 547879"/>
              <a:gd name="connsiteY8" fmla="*/ 82182 h 547879"/>
              <a:gd name="connsiteX9" fmla="*/ 123273 w 547879"/>
              <a:gd name="connsiteY9" fmla="*/ 246546 h 547879"/>
              <a:gd name="connsiteX10" fmla="*/ 123273 w 547879"/>
              <a:gd name="connsiteY10" fmla="*/ 403924 h 547879"/>
              <a:gd name="connsiteX11" fmla="*/ 143818 w 547879"/>
              <a:gd name="connsiteY11" fmla="*/ 424469 h 547879"/>
              <a:gd name="connsiteX12" fmla="*/ 246546 w 547879"/>
              <a:gd name="connsiteY12" fmla="*/ 424469 h 547879"/>
              <a:gd name="connsiteX13" fmla="*/ 246546 w 547879"/>
              <a:gd name="connsiteY13" fmla="*/ 465560 h 547879"/>
              <a:gd name="connsiteX14" fmla="*/ 143818 w 547879"/>
              <a:gd name="connsiteY14" fmla="*/ 465560 h 547879"/>
              <a:gd name="connsiteX15" fmla="*/ 82182 w 547879"/>
              <a:gd name="connsiteY15" fmla="*/ 403924 h 547879"/>
              <a:gd name="connsiteX16" fmla="*/ 82182 w 547879"/>
              <a:gd name="connsiteY16" fmla="*/ 246546 h 547879"/>
              <a:gd name="connsiteX17" fmla="*/ 123273 w 547879"/>
              <a:gd name="connsiteY17" fmla="*/ 246546 h 547879"/>
              <a:gd name="connsiteX18" fmla="*/ 0 w 547879"/>
              <a:gd name="connsiteY18" fmla="*/ 61636 h 547879"/>
              <a:gd name="connsiteX19" fmla="*/ 61636 w 547879"/>
              <a:gd name="connsiteY19" fmla="*/ 0 h 547879"/>
              <a:gd name="connsiteX20" fmla="*/ 157515 w 547879"/>
              <a:gd name="connsiteY20" fmla="*/ 0 h 547879"/>
              <a:gd name="connsiteX21" fmla="*/ 219152 w 547879"/>
              <a:gd name="connsiteY21" fmla="*/ 61636 h 547879"/>
              <a:gd name="connsiteX22" fmla="*/ 219152 w 547879"/>
              <a:gd name="connsiteY22" fmla="*/ 157515 h 547879"/>
              <a:gd name="connsiteX23" fmla="*/ 157515 w 547879"/>
              <a:gd name="connsiteY23" fmla="*/ 219152 h 547879"/>
              <a:gd name="connsiteX24" fmla="*/ 61636 w 547879"/>
              <a:gd name="connsiteY24" fmla="*/ 219152 h 547879"/>
              <a:gd name="connsiteX25" fmla="*/ 0 w 547879"/>
              <a:gd name="connsiteY25" fmla="*/ 157515 h 547879"/>
              <a:gd name="connsiteX26" fmla="*/ 0 w 547879"/>
              <a:gd name="connsiteY26" fmla="*/ 61636 h 547879"/>
              <a:gd name="connsiteX27" fmla="*/ 61636 w 547879"/>
              <a:gd name="connsiteY27" fmla="*/ 41091 h 547879"/>
              <a:gd name="connsiteX28" fmla="*/ 41091 w 547879"/>
              <a:gd name="connsiteY28" fmla="*/ 61636 h 547879"/>
              <a:gd name="connsiteX29" fmla="*/ 41091 w 547879"/>
              <a:gd name="connsiteY29" fmla="*/ 157515 h 547879"/>
              <a:gd name="connsiteX30" fmla="*/ 61636 w 547879"/>
              <a:gd name="connsiteY30" fmla="*/ 178061 h 547879"/>
              <a:gd name="connsiteX31" fmla="*/ 157515 w 547879"/>
              <a:gd name="connsiteY31" fmla="*/ 178061 h 547879"/>
              <a:gd name="connsiteX32" fmla="*/ 178061 w 547879"/>
              <a:gd name="connsiteY32" fmla="*/ 157515 h 547879"/>
              <a:gd name="connsiteX33" fmla="*/ 178061 w 547879"/>
              <a:gd name="connsiteY33" fmla="*/ 61636 h 547879"/>
              <a:gd name="connsiteX34" fmla="*/ 157515 w 547879"/>
              <a:gd name="connsiteY34" fmla="*/ 41091 h 547879"/>
              <a:gd name="connsiteX35" fmla="*/ 61636 w 547879"/>
              <a:gd name="connsiteY35" fmla="*/ 41091 h 547879"/>
              <a:gd name="connsiteX36" fmla="*/ 273940 w 547879"/>
              <a:gd name="connsiteY36" fmla="*/ 335576 h 547879"/>
              <a:gd name="connsiteX37" fmla="*/ 335576 w 547879"/>
              <a:gd name="connsiteY37" fmla="*/ 273940 h 547879"/>
              <a:gd name="connsiteX38" fmla="*/ 486243 w 547879"/>
              <a:gd name="connsiteY38" fmla="*/ 273940 h 547879"/>
              <a:gd name="connsiteX39" fmla="*/ 547879 w 547879"/>
              <a:gd name="connsiteY39" fmla="*/ 335576 h 547879"/>
              <a:gd name="connsiteX40" fmla="*/ 547879 w 547879"/>
              <a:gd name="connsiteY40" fmla="*/ 486243 h 547879"/>
              <a:gd name="connsiteX41" fmla="*/ 486243 w 547879"/>
              <a:gd name="connsiteY41" fmla="*/ 547879 h 547879"/>
              <a:gd name="connsiteX42" fmla="*/ 335576 w 547879"/>
              <a:gd name="connsiteY42" fmla="*/ 547879 h 547879"/>
              <a:gd name="connsiteX43" fmla="*/ 273940 w 547879"/>
              <a:gd name="connsiteY43" fmla="*/ 486243 h 547879"/>
              <a:gd name="connsiteX44" fmla="*/ 273940 w 547879"/>
              <a:gd name="connsiteY44" fmla="*/ 335576 h 547879"/>
              <a:gd name="connsiteX45" fmla="*/ 335576 w 547879"/>
              <a:gd name="connsiteY45" fmla="*/ 315031 h 547879"/>
              <a:gd name="connsiteX46" fmla="*/ 315031 w 547879"/>
              <a:gd name="connsiteY46" fmla="*/ 335576 h 547879"/>
              <a:gd name="connsiteX47" fmla="*/ 315031 w 547879"/>
              <a:gd name="connsiteY47" fmla="*/ 486243 h 547879"/>
              <a:gd name="connsiteX48" fmla="*/ 335576 w 547879"/>
              <a:gd name="connsiteY48" fmla="*/ 506788 h 547879"/>
              <a:gd name="connsiteX49" fmla="*/ 486243 w 547879"/>
              <a:gd name="connsiteY49" fmla="*/ 506788 h 547879"/>
              <a:gd name="connsiteX50" fmla="*/ 506788 w 547879"/>
              <a:gd name="connsiteY50" fmla="*/ 486243 h 547879"/>
              <a:gd name="connsiteX51" fmla="*/ 506788 w 547879"/>
              <a:gd name="connsiteY51" fmla="*/ 335576 h 547879"/>
              <a:gd name="connsiteX52" fmla="*/ 486243 w 547879"/>
              <a:gd name="connsiteY52" fmla="*/ 315031 h 547879"/>
              <a:gd name="connsiteX53" fmla="*/ 335576 w 547879"/>
              <a:gd name="connsiteY53" fmla="*/ 315031 h 547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547879" h="547879">
                <a:moveTo>
                  <a:pt x="246546" y="82182"/>
                </a:moveTo>
                <a:lnTo>
                  <a:pt x="403924" y="82182"/>
                </a:lnTo>
                <a:cubicBezTo>
                  <a:pt x="437964" y="82182"/>
                  <a:pt x="465560" y="109777"/>
                  <a:pt x="465560" y="143818"/>
                </a:cubicBezTo>
                <a:lnTo>
                  <a:pt x="465560" y="246546"/>
                </a:lnTo>
                <a:lnTo>
                  <a:pt x="424469" y="246546"/>
                </a:lnTo>
                <a:lnTo>
                  <a:pt x="424469" y="143818"/>
                </a:lnTo>
                <a:cubicBezTo>
                  <a:pt x="424469" y="132471"/>
                  <a:pt x="415271" y="123273"/>
                  <a:pt x="403924" y="123273"/>
                </a:cubicBezTo>
                <a:lnTo>
                  <a:pt x="246546" y="123273"/>
                </a:lnTo>
                <a:lnTo>
                  <a:pt x="246546" y="82182"/>
                </a:lnTo>
                <a:close/>
                <a:moveTo>
                  <a:pt x="123273" y="246546"/>
                </a:moveTo>
                <a:lnTo>
                  <a:pt x="123273" y="403924"/>
                </a:lnTo>
                <a:cubicBezTo>
                  <a:pt x="123273" y="415271"/>
                  <a:pt x="132471" y="424469"/>
                  <a:pt x="143818" y="424469"/>
                </a:cubicBezTo>
                <a:lnTo>
                  <a:pt x="246546" y="424469"/>
                </a:lnTo>
                <a:lnTo>
                  <a:pt x="246546" y="465560"/>
                </a:lnTo>
                <a:lnTo>
                  <a:pt x="143818" y="465560"/>
                </a:lnTo>
                <a:cubicBezTo>
                  <a:pt x="109777" y="465560"/>
                  <a:pt x="82182" y="437964"/>
                  <a:pt x="82182" y="403924"/>
                </a:cubicBezTo>
                <a:lnTo>
                  <a:pt x="82182" y="246546"/>
                </a:lnTo>
                <a:lnTo>
                  <a:pt x="123273" y="246546"/>
                </a:lnTo>
                <a:close/>
                <a:moveTo>
                  <a:pt x="0" y="61636"/>
                </a:moveTo>
                <a:cubicBezTo>
                  <a:pt x="0" y="27596"/>
                  <a:pt x="27596" y="0"/>
                  <a:pt x="61636" y="0"/>
                </a:cubicBezTo>
                <a:lnTo>
                  <a:pt x="157515" y="0"/>
                </a:lnTo>
                <a:cubicBezTo>
                  <a:pt x="191556" y="0"/>
                  <a:pt x="219152" y="27596"/>
                  <a:pt x="219152" y="61636"/>
                </a:cubicBezTo>
                <a:lnTo>
                  <a:pt x="219152" y="157515"/>
                </a:lnTo>
                <a:cubicBezTo>
                  <a:pt x="219152" y="191556"/>
                  <a:pt x="191556" y="219152"/>
                  <a:pt x="157515" y="219152"/>
                </a:cubicBezTo>
                <a:lnTo>
                  <a:pt x="61636" y="219152"/>
                </a:lnTo>
                <a:cubicBezTo>
                  <a:pt x="27596" y="219152"/>
                  <a:pt x="0" y="191556"/>
                  <a:pt x="0" y="157515"/>
                </a:cubicBezTo>
                <a:lnTo>
                  <a:pt x="0" y="61636"/>
                </a:lnTo>
                <a:close/>
                <a:moveTo>
                  <a:pt x="61636" y="41091"/>
                </a:moveTo>
                <a:cubicBezTo>
                  <a:pt x="50290" y="41091"/>
                  <a:pt x="41091" y="50290"/>
                  <a:pt x="41091" y="61636"/>
                </a:cubicBezTo>
                <a:lnTo>
                  <a:pt x="41091" y="157515"/>
                </a:lnTo>
                <a:cubicBezTo>
                  <a:pt x="41091" y="168862"/>
                  <a:pt x="50290" y="178061"/>
                  <a:pt x="61636" y="178061"/>
                </a:cubicBezTo>
                <a:lnTo>
                  <a:pt x="157515" y="178061"/>
                </a:lnTo>
                <a:cubicBezTo>
                  <a:pt x="168862" y="178061"/>
                  <a:pt x="178061" y="168862"/>
                  <a:pt x="178061" y="157515"/>
                </a:cubicBezTo>
                <a:lnTo>
                  <a:pt x="178061" y="61636"/>
                </a:lnTo>
                <a:cubicBezTo>
                  <a:pt x="178061" y="50290"/>
                  <a:pt x="168862" y="41091"/>
                  <a:pt x="157515" y="41091"/>
                </a:cubicBezTo>
                <a:lnTo>
                  <a:pt x="61636" y="41091"/>
                </a:lnTo>
                <a:close/>
                <a:moveTo>
                  <a:pt x="273940" y="335576"/>
                </a:moveTo>
                <a:cubicBezTo>
                  <a:pt x="273940" y="301536"/>
                  <a:pt x="301536" y="273940"/>
                  <a:pt x="335576" y="273940"/>
                </a:cubicBezTo>
                <a:lnTo>
                  <a:pt x="486243" y="273940"/>
                </a:lnTo>
                <a:cubicBezTo>
                  <a:pt x="520282" y="273940"/>
                  <a:pt x="547879" y="301536"/>
                  <a:pt x="547879" y="335576"/>
                </a:cubicBezTo>
                <a:lnTo>
                  <a:pt x="547879" y="486243"/>
                </a:lnTo>
                <a:cubicBezTo>
                  <a:pt x="547879" y="520282"/>
                  <a:pt x="520282" y="547879"/>
                  <a:pt x="486243" y="547879"/>
                </a:cubicBezTo>
                <a:lnTo>
                  <a:pt x="335576" y="547879"/>
                </a:lnTo>
                <a:cubicBezTo>
                  <a:pt x="301536" y="547879"/>
                  <a:pt x="273940" y="520282"/>
                  <a:pt x="273940" y="486243"/>
                </a:cubicBezTo>
                <a:lnTo>
                  <a:pt x="273940" y="335576"/>
                </a:lnTo>
                <a:close/>
                <a:moveTo>
                  <a:pt x="335576" y="315031"/>
                </a:moveTo>
                <a:cubicBezTo>
                  <a:pt x="324229" y="315031"/>
                  <a:pt x="315031" y="324229"/>
                  <a:pt x="315031" y="335576"/>
                </a:cubicBezTo>
                <a:lnTo>
                  <a:pt x="315031" y="486243"/>
                </a:lnTo>
                <a:cubicBezTo>
                  <a:pt x="315031" y="497589"/>
                  <a:pt x="324229" y="506788"/>
                  <a:pt x="335576" y="506788"/>
                </a:cubicBezTo>
                <a:lnTo>
                  <a:pt x="486243" y="506788"/>
                </a:lnTo>
                <a:cubicBezTo>
                  <a:pt x="497589" y="506788"/>
                  <a:pt x="506788" y="497589"/>
                  <a:pt x="506788" y="486243"/>
                </a:cubicBezTo>
                <a:lnTo>
                  <a:pt x="506788" y="335576"/>
                </a:lnTo>
                <a:cubicBezTo>
                  <a:pt x="506788" y="324229"/>
                  <a:pt x="497589" y="315031"/>
                  <a:pt x="486243" y="315031"/>
                </a:cubicBezTo>
                <a:lnTo>
                  <a:pt x="335576" y="315031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3600000" scaled="0"/>
          </a:gra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8" name="Graphic 115" descr="Folder Open&#10;Keyword: fluent-icon;&#10;Metaphor: analog, collection;&#10;&#10;Used to represent collections of files.">
            <a:extLst>
              <a:ext uri="{FF2B5EF4-FFF2-40B4-BE49-F238E27FC236}">
                <a16:creationId xmlns:a16="http://schemas.microsoft.com/office/drawing/2014/main" id="{00A6A8DE-D2D8-6415-769B-688C8ABE2635}"/>
              </a:ext>
            </a:extLst>
          </p:cNvPr>
          <p:cNvSpPr/>
          <p:nvPr/>
        </p:nvSpPr>
        <p:spPr>
          <a:xfrm>
            <a:off x="10018635" y="1996841"/>
            <a:ext cx="547179" cy="438303"/>
          </a:xfrm>
          <a:custGeom>
            <a:avLst/>
            <a:gdLst>
              <a:gd name="connsiteX0" fmla="*/ 493212 w 547179"/>
              <a:gd name="connsiteY0" fmla="*/ 150721 h 438303"/>
              <a:gd name="connsiteX1" fmla="*/ 493212 w 547179"/>
              <a:gd name="connsiteY1" fmla="*/ 130118 h 438303"/>
              <a:gd name="connsiteX2" fmla="*/ 431576 w 547179"/>
              <a:gd name="connsiteY2" fmla="*/ 68482 h 438303"/>
              <a:gd name="connsiteX3" fmla="*/ 274737 w 547179"/>
              <a:gd name="connsiteY3" fmla="*/ 68482 h 438303"/>
              <a:gd name="connsiteX4" fmla="*/ 209511 w 547179"/>
              <a:gd name="connsiteY4" fmla="*/ 14244 h 438303"/>
              <a:gd name="connsiteX5" fmla="*/ 170103 w 547179"/>
              <a:gd name="connsiteY5" fmla="*/ 0 h 438303"/>
              <a:gd name="connsiteX6" fmla="*/ 61745 w 547179"/>
              <a:gd name="connsiteY6" fmla="*/ 0 h 438303"/>
              <a:gd name="connsiteX7" fmla="*/ 109 w 547179"/>
              <a:gd name="connsiteY7" fmla="*/ 61615 h 438303"/>
              <a:gd name="connsiteX8" fmla="*/ 0 w 547179"/>
              <a:gd name="connsiteY8" fmla="*/ 376645 h 438303"/>
              <a:gd name="connsiteX9" fmla="*/ 61636 w 547179"/>
              <a:gd name="connsiteY9" fmla="*/ 438303 h 438303"/>
              <a:gd name="connsiteX10" fmla="*/ 62359 w 547179"/>
              <a:gd name="connsiteY10" fmla="*/ 438303 h 438303"/>
              <a:gd name="connsiteX11" fmla="*/ 62697 w 547179"/>
              <a:gd name="connsiteY11" fmla="*/ 438303 h 438303"/>
              <a:gd name="connsiteX12" fmla="*/ 451280 w 547179"/>
              <a:gd name="connsiteY12" fmla="*/ 438303 h 438303"/>
              <a:gd name="connsiteX13" fmla="*/ 497787 w 547179"/>
              <a:gd name="connsiteY13" fmla="*/ 401995 h 438303"/>
              <a:gd name="connsiteX14" fmla="*/ 545724 w 547179"/>
              <a:gd name="connsiteY14" fmla="*/ 210290 h 438303"/>
              <a:gd name="connsiteX15" fmla="*/ 499217 w 547179"/>
              <a:gd name="connsiteY15" fmla="*/ 150721 h 438303"/>
              <a:gd name="connsiteX16" fmla="*/ 493212 w 547179"/>
              <a:gd name="connsiteY16" fmla="*/ 150721 h 438303"/>
              <a:gd name="connsiteX17" fmla="*/ 61745 w 547179"/>
              <a:gd name="connsiteY17" fmla="*/ 41091 h 438303"/>
              <a:gd name="connsiteX18" fmla="*/ 170103 w 547179"/>
              <a:gd name="connsiteY18" fmla="*/ 41091 h 438303"/>
              <a:gd name="connsiteX19" fmla="*/ 183239 w 547179"/>
              <a:gd name="connsiteY19" fmla="*/ 45839 h 438303"/>
              <a:gd name="connsiteX20" fmla="*/ 254172 w 547179"/>
              <a:gd name="connsiteY20" fmla="*/ 104824 h 438303"/>
              <a:gd name="connsiteX21" fmla="*/ 267311 w 547179"/>
              <a:gd name="connsiteY21" fmla="*/ 109573 h 438303"/>
              <a:gd name="connsiteX22" fmla="*/ 431576 w 547179"/>
              <a:gd name="connsiteY22" fmla="*/ 109573 h 438303"/>
              <a:gd name="connsiteX23" fmla="*/ 452121 w 547179"/>
              <a:gd name="connsiteY23" fmla="*/ 130118 h 438303"/>
              <a:gd name="connsiteX24" fmla="*/ 452121 w 547179"/>
              <a:gd name="connsiteY24" fmla="*/ 150721 h 438303"/>
              <a:gd name="connsiteX25" fmla="*/ 121307 w 547179"/>
              <a:gd name="connsiteY25" fmla="*/ 150721 h 438303"/>
              <a:gd name="connsiteX26" fmla="*/ 61510 w 547179"/>
              <a:gd name="connsiteY26" fmla="*/ 197412 h 438303"/>
              <a:gd name="connsiteX27" fmla="*/ 41125 w 547179"/>
              <a:gd name="connsiteY27" fmla="*/ 278972 h 438303"/>
              <a:gd name="connsiteX28" fmla="*/ 41200 w 547179"/>
              <a:gd name="connsiteY28" fmla="*/ 61629 h 438303"/>
              <a:gd name="connsiteX29" fmla="*/ 61745 w 547179"/>
              <a:gd name="connsiteY29" fmla="*/ 41091 h 438303"/>
              <a:gd name="connsiteX30" fmla="*/ 101375 w 547179"/>
              <a:gd name="connsiteY30" fmla="*/ 207375 h 438303"/>
              <a:gd name="connsiteX31" fmla="*/ 121307 w 547179"/>
              <a:gd name="connsiteY31" fmla="*/ 191813 h 438303"/>
              <a:gd name="connsiteX32" fmla="*/ 499217 w 547179"/>
              <a:gd name="connsiteY32" fmla="*/ 191813 h 438303"/>
              <a:gd name="connsiteX33" fmla="*/ 505860 w 547179"/>
              <a:gd name="connsiteY33" fmla="*/ 200321 h 438303"/>
              <a:gd name="connsiteX34" fmla="*/ 457923 w 547179"/>
              <a:gd name="connsiteY34" fmla="*/ 392027 h 438303"/>
              <a:gd name="connsiteX35" fmla="*/ 451280 w 547179"/>
              <a:gd name="connsiteY35" fmla="*/ 397212 h 438303"/>
              <a:gd name="connsiteX36" fmla="*/ 62697 w 547179"/>
              <a:gd name="connsiteY36" fmla="*/ 397212 h 438303"/>
              <a:gd name="connsiteX37" fmla="*/ 56053 w 547179"/>
              <a:gd name="connsiteY37" fmla="*/ 388704 h 438303"/>
              <a:gd name="connsiteX38" fmla="*/ 101375 w 547179"/>
              <a:gd name="connsiteY38" fmla="*/ 207375 h 438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547179" h="438303">
                <a:moveTo>
                  <a:pt x="493212" y="150721"/>
                </a:moveTo>
                <a:lnTo>
                  <a:pt x="493212" y="130118"/>
                </a:lnTo>
                <a:cubicBezTo>
                  <a:pt x="493212" y="96077"/>
                  <a:pt x="465615" y="68482"/>
                  <a:pt x="431576" y="68482"/>
                </a:cubicBezTo>
                <a:lnTo>
                  <a:pt x="274737" y="68482"/>
                </a:lnTo>
                <a:lnTo>
                  <a:pt x="209511" y="14244"/>
                </a:lnTo>
                <a:cubicBezTo>
                  <a:pt x="198442" y="5039"/>
                  <a:pt x="184499" y="0"/>
                  <a:pt x="170103" y="0"/>
                </a:cubicBezTo>
                <a:lnTo>
                  <a:pt x="61745" y="0"/>
                </a:lnTo>
                <a:cubicBezTo>
                  <a:pt x="27713" y="0"/>
                  <a:pt x="121" y="27583"/>
                  <a:pt x="109" y="61615"/>
                </a:cubicBezTo>
                <a:lnTo>
                  <a:pt x="0" y="376645"/>
                </a:lnTo>
                <a:cubicBezTo>
                  <a:pt x="-12" y="410696"/>
                  <a:pt x="27587" y="438303"/>
                  <a:pt x="61636" y="438303"/>
                </a:cubicBezTo>
                <a:lnTo>
                  <a:pt x="62359" y="438303"/>
                </a:lnTo>
                <a:cubicBezTo>
                  <a:pt x="62471" y="438303"/>
                  <a:pt x="62584" y="438303"/>
                  <a:pt x="62697" y="438303"/>
                </a:cubicBezTo>
                <a:lnTo>
                  <a:pt x="451280" y="438303"/>
                </a:lnTo>
                <a:cubicBezTo>
                  <a:pt x="473278" y="438303"/>
                  <a:pt x="492451" y="423335"/>
                  <a:pt x="497787" y="401995"/>
                </a:cubicBezTo>
                <a:lnTo>
                  <a:pt x="545724" y="210290"/>
                </a:lnTo>
                <a:cubicBezTo>
                  <a:pt x="553290" y="180033"/>
                  <a:pt x="530405" y="150721"/>
                  <a:pt x="499217" y="150721"/>
                </a:cubicBezTo>
                <a:lnTo>
                  <a:pt x="493212" y="150721"/>
                </a:lnTo>
                <a:close/>
                <a:moveTo>
                  <a:pt x="61745" y="41091"/>
                </a:moveTo>
                <a:lnTo>
                  <a:pt x="170103" y="41091"/>
                </a:lnTo>
                <a:cubicBezTo>
                  <a:pt x="174901" y="41091"/>
                  <a:pt x="179549" y="42771"/>
                  <a:pt x="183239" y="45839"/>
                </a:cubicBezTo>
                <a:lnTo>
                  <a:pt x="254172" y="104824"/>
                </a:lnTo>
                <a:cubicBezTo>
                  <a:pt x="257862" y="107892"/>
                  <a:pt x="262511" y="109573"/>
                  <a:pt x="267311" y="109573"/>
                </a:cubicBezTo>
                <a:lnTo>
                  <a:pt x="431576" y="109573"/>
                </a:lnTo>
                <a:cubicBezTo>
                  <a:pt x="442922" y="109573"/>
                  <a:pt x="452121" y="118771"/>
                  <a:pt x="452121" y="130118"/>
                </a:cubicBezTo>
                <a:lnTo>
                  <a:pt x="452121" y="150721"/>
                </a:lnTo>
                <a:lnTo>
                  <a:pt x="121307" y="150721"/>
                </a:lnTo>
                <a:cubicBezTo>
                  <a:pt x="93023" y="150721"/>
                  <a:pt x="68369" y="169971"/>
                  <a:pt x="61510" y="197412"/>
                </a:cubicBezTo>
                <a:lnTo>
                  <a:pt x="41125" y="278972"/>
                </a:lnTo>
                <a:lnTo>
                  <a:pt x="41200" y="61629"/>
                </a:lnTo>
                <a:cubicBezTo>
                  <a:pt x="41204" y="50285"/>
                  <a:pt x="50401" y="41091"/>
                  <a:pt x="61745" y="41091"/>
                </a:cubicBezTo>
                <a:close/>
                <a:moveTo>
                  <a:pt x="101375" y="207375"/>
                </a:moveTo>
                <a:cubicBezTo>
                  <a:pt x="103661" y="198228"/>
                  <a:pt x="111879" y="191813"/>
                  <a:pt x="121307" y="191813"/>
                </a:cubicBezTo>
                <a:lnTo>
                  <a:pt x="499217" y="191813"/>
                </a:lnTo>
                <a:cubicBezTo>
                  <a:pt x="503671" y="191813"/>
                  <a:pt x="506942" y="195998"/>
                  <a:pt x="505860" y="200321"/>
                </a:cubicBezTo>
                <a:lnTo>
                  <a:pt x="457923" y="392027"/>
                </a:lnTo>
                <a:cubicBezTo>
                  <a:pt x="457162" y="395076"/>
                  <a:pt x="454422" y="397212"/>
                  <a:pt x="451280" y="397212"/>
                </a:cubicBezTo>
                <a:lnTo>
                  <a:pt x="62697" y="397212"/>
                </a:lnTo>
                <a:cubicBezTo>
                  <a:pt x="58241" y="397212"/>
                  <a:pt x="54972" y="393027"/>
                  <a:pt x="56053" y="388704"/>
                </a:cubicBezTo>
                <a:lnTo>
                  <a:pt x="101375" y="207375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3600000" scaled="0"/>
          </a:gra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9" name="Graphic 117" descr="Data Bar Horizontal&#10;Keyword: fluent-icon;&#10;Metaphor: data viz, visualization, chart, map, trending, graph.&#10;&#10;Used in data viz scenarios.">
            <a:extLst>
              <a:ext uri="{FF2B5EF4-FFF2-40B4-BE49-F238E27FC236}">
                <a16:creationId xmlns:a16="http://schemas.microsoft.com/office/drawing/2014/main" id="{47C925CF-9D1B-339F-4AB2-523B77FFBCE8}"/>
              </a:ext>
            </a:extLst>
          </p:cNvPr>
          <p:cNvSpPr/>
          <p:nvPr/>
        </p:nvSpPr>
        <p:spPr>
          <a:xfrm>
            <a:off x="10985647" y="1969501"/>
            <a:ext cx="493091" cy="479343"/>
          </a:xfrm>
          <a:custGeom>
            <a:avLst/>
            <a:gdLst>
              <a:gd name="connsiteX0" fmla="*/ 493091 w 493091"/>
              <a:gd name="connsiteY0" fmla="*/ 417732 h 479343"/>
              <a:gd name="connsiteX1" fmla="*/ 431480 w 493091"/>
              <a:gd name="connsiteY1" fmla="*/ 356123 h 479343"/>
              <a:gd name="connsiteX2" fmla="*/ 61611 w 493091"/>
              <a:gd name="connsiteY2" fmla="*/ 356123 h 479343"/>
              <a:gd name="connsiteX3" fmla="*/ 0 w 493091"/>
              <a:gd name="connsiteY3" fmla="*/ 417732 h 479343"/>
              <a:gd name="connsiteX4" fmla="*/ 61611 w 493091"/>
              <a:gd name="connsiteY4" fmla="*/ 479344 h 479343"/>
              <a:gd name="connsiteX5" fmla="*/ 431480 w 493091"/>
              <a:gd name="connsiteY5" fmla="*/ 479344 h 479343"/>
              <a:gd name="connsiteX6" fmla="*/ 493091 w 493091"/>
              <a:gd name="connsiteY6" fmla="*/ 417732 h 479343"/>
              <a:gd name="connsiteX7" fmla="*/ 383515 w 493091"/>
              <a:gd name="connsiteY7" fmla="*/ 239671 h 479343"/>
              <a:gd name="connsiteX8" fmla="*/ 321904 w 493091"/>
              <a:gd name="connsiteY8" fmla="*/ 178061 h 479343"/>
              <a:gd name="connsiteX9" fmla="*/ 61611 w 493091"/>
              <a:gd name="connsiteY9" fmla="*/ 178061 h 479343"/>
              <a:gd name="connsiteX10" fmla="*/ 0 w 493091"/>
              <a:gd name="connsiteY10" fmla="*/ 239671 h 479343"/>
              <a:gd name="connsiteX11" fmla="*/ 61611 w 493091"/>
              <a:gd name="connsiteY11" fmla="*/ 301283 h 479343"/>
              <a:gd name="connsiteX12" fmla="*/ 321904 w 493091"/>
              <a:gd name="connsiteY12" fmla="*/ 301283 h 479343"/>
              <a:gd name="connsiteX13" fmla="*/ 383515 w 493091"/>
              <a:gd name="connsiteY13" fmla="*/ 239671 h 479343"/>
              <a:gd name="connsiteX14" fmla="*/ 273940 w 493091"/>
              <a:gd name="connsiteY14" fmla="*/ 61611 h 479343"/>
              <a:gd name="connsiteX15" fmla="*/ 212328 w 493091"/>
              <a:gd name="connsiteY15" fmla="*/ 0 h 479343"/>
              <a:gd name="connsiteX16" fmla="*/ 61611 w 493091"/>
              <a:gd name="connsiteY16" fmla="*/ 0 h 479343"/>
              <a:gd name="connsiteX17" fmla="*/ 0 w 493091"/>
              <a:gd name="connsiteY17" fmla="*/ 61611 h 479343"/>
              <a:gd name="connsiteX18" fmla="*/ 61611 w 493091"/>
              <a:gd name="connsiteY18" fmla="*/ 123223 h 479343"/>
              <a:gd name="connsiteX19" fmla="*/ 212328 w 493091"/>
              <a:gd name="connsiteY19" fmla="*/ 123223 h 479343"/>
              <a:gd name="connsiteX20" fmla="*/ 273940 w 493091"/>
              <a:gd name="connsiteY20" fmla="*/ 61611 h 479343"/>
              <a:gd name="connsiteX21" fmla="*/ 452000 w 493091"/>
              <a:gd name="connsiteY21" fmla="*/ 417732 h 479343"/>
              <a:gd name="connsiteX22" fmla="*/ 431480 w 493091"/>
              <a:gd name="connsiteY22" fmla="*/ 438253 h 479343"/>
              <a:gd name="connsiteX23" fmla="*/ 61611 w 493091"/>
              <a:gd name="connsiteY23" fmla="*/ 438253 h 479343"/>
              <a:gd name="connsiteX24" fmla="*/ 41091 w 493091"/>
              <a:gd name="connsiteY24" fmla="*/ 417732 h 479343"/>
              <a:gd name="connsiteX25" fmla="*/ 61611 w 493091"/>
              <a:gd name="connsiteY25" fmla="*/ 397214 h 479343"/>
              <a:gd name="connsiteX26" fmla="*/ 431480 w 493091"/>
              <a:gd name="connsiteY26" fmla="*/ 397214 h 479343"/>
              <a:gd name="connsiteX27" fmla="*/ 452000 w 493091"/>
              <a:gd name="connsiteY27" fmla="*/ 417732 h 479343"/>
              <a:gd name="connsiteX28" fmla="*/ 342424 w 493091"/>
              <a:gd name="connsiteY28" fmla="*/ 239671 h 479343"/>
              <a:gd name="connsiteX29" fmla="*/ 321904 w 493091"/>
              <a:gd name="connsiteY29" fmla="*/ 260192 h 479343"/>
              <a:gd name="connsiteX30" fmla="*/ 61611 w 493091"/>
              <a:gd name="connsiteY30" fmla="*/ 260192 h 479343"/>
              <a:gd name="connsiteX31" fmla="*/ 41091 w 493091"/>
              <a:gd name="connsiteY31" fmla="*/ 239671 h 479343"/>
              <a:gd name="connsiteX32" fmla="*/ 61611 w 493091"/>
              <a:gd name="connsiteY32" fmla="*/ 219153 h 479343"/>
              <a:gd name="connsiteX33" fmla="*/ 321904 w 493091"/>
              <a:gd name="connsiteY33" fmla="*/ 219153 h 479343"/>
              <a:gd name="connsiteX34" fmla="*/ 342424 w 493091"/>
              <a:gd name="connsiteY34" fmla="*/ 239671 h 479343"/>
              <a:gd name="connsiteX35" fmla="*/ 232849 w 493091"/>
              <a:gd name="connsiteY35" fmla="*/ 61611 h 479343"/>
              <a:gd name="connsiteX36" fmla="*/ 212328 w 493091"/>
              <a:gd name="connsiteY36" fmla="*/ 82132 h 479343"/>
              <a:gd name="connsiteX37" fmla="*/ 61611 w 493091"/>
              <a:gd name="connsiteY37" fmla="*/ 82132 h 479343"/>
              <a:gd name="connsiteX38" fmla="*/ 41091 w 493091"/>
              <a:gd name="connsiteY38" fmla="*/ 61611 h 479343"/>
              <a:gd name="connsiteX39" fmla="*/ 61611 w 493091"/>
              <a:gd name="connsiteY39" fmla="*/ 41091 h 479343"/>
              <a:gd name="connsiteX40" fmla="*/ 212328 w 493091"/>
              <a:gd name="connsiteY40" fmla="*/ 41091 h 479343"/>
              <a:gd name="connsiteX41" fmla="*/ 232849 w 493091"/>
              <a:gd name="connsiteY41" fmla="*/ 61611 h 479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493091" h="479343">
                <a:moveTo>
                  <a:pt x="493091" y="417732"/>
                </a:moveTo>
                <a:cubicBezTo>
                  <a:pt x="493091" y="383706"/>
                  <a:pt x="465508" y="356123"/>
                  <a:pt x="431480" y="356123"/>
                </a:cubicBezTo>
                <a:lnTo>
                  <a:pt x="61611" y="356123"/>
                </a:lnTo>
                <a:cubicBezTo>
                  <a:pt x="27584" y="356123"/>
                  <a:pt x="0" y="383706"/>
                  <a:pt x="0" y="417732"/>
                </a:cubicBezTo>
                <a:cubicBezTo>
                  <a:pt x="0" y="451761"/>
                  <a:pt x="27584" y="479344"/>
                  <a:pt x="61611" y="479344"/>
                </a:cubicBezTo>
                <a:lnTo>
                  <a:pt x="431480" y="479344"/>
                </a:lnTo>
                <a:cubicBezTo>
                  <a:pt x="465508" y="479344"/>
                  <a:pt x="493091" y="451761"/>
                  <a:pt x="493091" y="417732"/>
                </a:cubicBezTo>
                <a:close/>
                <a:moveTo>
                  <a:pt x="383515" y="239671"/>
                </a:moveTo>
                <a:cubicBezTo>
                  <a:pt x="383515" y="205645"/>
                  <a:pt x="355932" y="178061"/>
                  <a:pt x="321904" y="178061"/>
                </a:cubicBezTo>
                <a:lnTo>
                  <a:pt x="61611" y="178061"/>
                </a:lnTo>
                <a:cubicBezTo>
                  <a:pt x="27584" y="178061"/>
                  <a:pt x="0" y="205645"/>
                  <a:pt x="0" y="239671"/>
                </a:cubicBezTo>
                <a:cubicBezTo>
                  <a:pt x="0" y="273700"/>
                  <a:pt x="27584" y="301283"/>
                  <a:pt x="61611" y="301283"/>
                </a:cubicBezTo>
                <a:lnTo>
                  <a:pt x="321904" y="301283"/>
                </a:lnTo>
                <a:cubicBezTo>
                  <a:pt x="355932" y="301283"/>
                  <a:pt x="383515" y="273700"/>
                  <a:pt x="383515" y="239671"/>
                </a:cubicBezTo>
                <a:close/>
                <a:moveTo>
                  <a:pt x="273940" y="61611"/>
                </a:moveTo>
                <a:cubicBezTo>
                  <a:pt x="273940" y="27584"/>
                  <a:pt x="246357" y="0"/>
                  <a:pt x="212328" y="0"/>
                </a:cubicBezTo>
                <a:lnTo>
                  <a:pt x="61611" y="0"/>
                </a:lnTo>
                <a:cubicBezTo>
                  <a:pt x="27584" y="0"/>
                  <a:pt x="0" y="27584"/>
                  <a:pt x="0" y="61611"/>
                </a:cubicBezTo>
                <a:cubicBezTo>
                  <a:pt x="0" y="95638"/>
                  <a:pt x="27584" y="123223"/>
                  <a:pt x="61611" y="123223"/>
                </a:cubicBezTo>
                <a:lnTo>
                  <a:pt x="212328" y="123223"/>
                </a:lnTo>
                <a:cubicBezTo>
                  <a:pt x="246357" y="123223"/>
                  <a:pt x="273940" y="95638"/>
                  <a:pt x="273940" y="61611"/>
                </a:cubicBezTo>
                <a:close/>
                <a:moveTo>
                  <a:pt x="452000" y="417732"/>
                </a:moveTo>
                <a:cubicBezTo>
                  <a:pt x="452000" y="429065"/>
                  <a:pt x="442812" y="438253"/>
                  <a:pt x="431480" y="438253"/>
                </a:cubicBezTo>
                <a:lnTo>
                  <a:pt x="61611" y="438253"/>
                </a:lnTo>
                <a:cubicBezTo>
                  <a:pt x="50278" y="438253"/>
                  <a:pt x="41091" y="429065"/>
                  <a:pt x="41091" y="417732"/>
                </a:cubicBezTo>
                <a:cubicBezTo>
                  <a:pt x="41091" y="406399"/>
                  <a:pt x="50278" y="397214"/>
                  <a:pt x="61611" y="397214"/>
                </a:cubicBezTo>
                <a:lnTo>
                  <a:pt x="431480" y="397214"/>
                </a:lnTo>
                <a:cubicBezTo>
                  <a:pt x="442812" y="397214"/>
                  <a:pt x="452000" y="406399"/>
                  <a:pt x="452000" y="417732"/>
                </a:cubicBezTo>
                <a:close/>
                <a:moveTo>
                  <a:pt x="342424" y="239671"/>
                </a:moveTo>
                <a:cubicBezTo>
                  <a:pt x="342424" y="251004"/>
                  <a:pt x="333237" y="260192"/>
                  <a:pt x="321904" y="260192"/>
                </a:cubicBezTo>
                <a:lnTo>
                  <a:pt x="61611" y="260192"/>
                </a:lnTo>
                <a:cubicBezTo>
                  <a:pt x="50278" y="260192"/>
                  <a:pt x="41091" y="251004"/>
                  <a:pt x="41091" y="239671"/>
                </a:cubicBezTo>
                <a:cubicBezTo>
                  <a:pt x="41091" y="228338"/>
                  <a:pt x="50278" y="219153"/>
                  <a:pt x="61611" y="219153"/>
                </a:cubicBezTo>
                <a:lnTo>
                  <a:pt x="321904" y="219153"/>
                </a:lnTo>
                <a:cubicBezTo>
                  <a:pt x="333237" y="219153"/>
                  <a:pt x="342424" y="228338"/>
                  <a:pt x="342424" y="239671"/>
                </a:cubicBezTo>
                <a:close/>
                <a:moveTo>
                  <a:pt x="232849" y="61611"/>
                </a:moveTo>
                <a:cubicBezTo>
                  <a:pt x="232849" y="72944"/>
                  <a:pt x="223661" y="82132"/>
                  <a:pt x="212328" y="82132"/>
                </a:cubicBezTo>
                <a:lnTo>
                  <a:pt x="61611" y="82132"/>
                </a:lnTo>
                <a:cubicBezTo>
                  <a:pt x="50278" y="82132"/>
                  <a:pt x="41091" y="72944"/>
                  <a:pt x="41091" y="61611"/>
                </a:cubicBezTo>
                <a:cubicBezTo>
                  <a:pt x="41091" y="50278"/>
                  <a:pt x="50278" y="41091"/>
                  <a:pt x="61611" y="41091"/>
                </a:cubicBezTo>
                <a:lnTo>
                  <a:pt x="212328" y="41091"/>
                </a:lnTo>
                <a:cubicBezTo>
                  <a:pt x="223661" y="41091"/>
                  <a:pt x="232849" y="50278"/>
                  <a:pt x="232849" y="61611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3600000" scaled="0"/>
          </a:gra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0" name="Graphic 119" descr="Data Pie&#10;Keyword: fluent-icon;&#10;Metaphor: data viz, visualization, chart, map, trending, graph.&#10;&#10;Used in data viz scenarios.">
            <a:extLst>
              <a:ext uri="{FF2B5EF4-FFF2-40B4-BE49-F238E27FC236}">
                <a16:creationId xmlns:a16="http://schemas.microsoft.com/office/drawing/2014/main" id="{594F0A26-F61F-1F01-882F-1B04BE1536DA}"/>
              </a:ext>
            </a:extLst>
          </p:cNvPr>
          <p:cNvSpPr/>
          <p:nvPr/>
        </p:nvSpPr>
        <p:spPr>
          <a:xfrm>
            <a:off x="685227" y="3145635"/>
            <a:ext cx="561576" cy="561576"/>
          </a:xfrm>
          <a:custGeom>
            <a:avLst/>
            <a:gdLst>
              <a:gd name="connsiteX0" fmla="*/ 232849 w 561576"/>
              <a:gd name="connsiteY0" fmla="*/ 68485 h 561576"/>
              <a:gd name="connsiteX1" fmla="*/ 253394 w 561576"/>
              <a:gd name="connsiteY1" fmla="*/ 89030 h 561576"/>
              <a:gd name="connsiteX2" fmla="*/ 253394 w 561576"/>
              <a:gd name="connsiteY2" fmla="*/ 308182 h 561576"/>
              <a:gd name="connsiteX3" fmla="*/ 472546 w 561576"/>
              <a:gd name="connsiteY3" fmla="*/ 308182 h 561576"/>
              <a:gd name="connsiteX4" fmla="*/ 492905 w 561576"/>
              <a:gd name="connsiteY4" fmla="*/ 325939 h 561576"/>
              <a:gd name="connsiteX5" fmla="*/ 493091 w 561576"/>
              <a:gd name="connsiteY5" fmla="*/ 328728 h 561576"/>
              <a:gd name="connsiteX6" fmla="*/ 246546 w 561576"/>
              <a:gd name="connsiteY6" fmla="*/ 561576 h 561576"/>
              <a:gd name="connsiteX7" fmla="*/ 0 w 561576"/>
              <a:gd name="connsiteY7" fmla="*/ 315031 h 561576"/>
              <a:gd name="connsiteX8" fmla="*/ 232849 w 561576"/>
              <a:gd name="connsiteY8" fmla="*/ 68485 h 561576"/>
              <a:gd name="connsiteX9" fmla="*/ 212303 w 561576"/>
              <a:gd name="connsiteY9" fmla="*/ 110589 h 561576"/>
              <a:gd name="connsiteX10" fmla="*/ 206580 w 561576"/>
              <a:gd name="connsiteY10" fmla="*/ 111239 h 561576"/>
              <a:gd name="connsiteX11" fmla="*/ 41091 w 561576"/>
              <a:gd name="connsiteY11" fmla="*/ 315031 h 561576"/>
              <a:gd name="connsiteX12" fmla="*/ 246546 w 561576"/>
              <a:gd name="connsiteY12" fmla="*/ 520485 h 561576"/>
              <a:gd name="connsiteX13" fmla="*/ 450338 w 561576"/>
              <a:gd name="connsiteY13" fmla="*/ 354996 h 561576"/>
              <a:gd name="connsiteX14" fmla="*/ 450959 w 561576"/>
              <a:gd name="connsiteY14" fmla="*/ 349273 h 561576"/>
              <a:gd name="connsiteX15" fmla="*/ 232849 w 561576"/>
              <a:gd name="connsiteY15" fmla="*/ 349273 h 561576"/>
              <a:gd name="connsiteX16" fmla="*/ 212491 w 561576"/>
              <a:gd name="connsiteY16" fmla="*/ 331516 h 561576"/>
              <a:gd name="connsiteX17" fmla="*/ 212303 w 561576"/>
              <a:gd name="connsiteY17" fmla="*/ 328728 h 561576"/>
              <a:gd name="connsiteX18" fmla="*/ 212303 w 561576"/>
              <a:gd name="connsiteY18" fmla="*/ 110589 h 561576"/>
              <a:gd name="connsiteX19" fmla="*/ 315031 w 561576"/>
              <a:gd name="connsiteY19" fmla="*/ 0 h 561576"/>
              <a:gd name="connsiteX20" fmla="*/ 561576 w 561576"/>
              <a:gd name="connsiteY20" fmla="*/ 246546 h 561576"/>
              <a:gd name="connsiteX21" fmla="*/ 541031 w 561576"/>
              <a:gd name="connsiteY21" fmla="*/ 267091 h 561576"/>
              <a:gd name="connsiteX22" fmla="*/ 315031 w 561576"/>
              <a:gd name="connsiteY22" fmla="*/ 267091 h 561576"/>
              <a:gd name="connsiteX23" fmla="*/ 294485 w 561576"/>
              <a:gd name="connsiteY23" fmla="*/ 246546 h 561576"/>
              <a:gd name="connsiteX24" fmla="*/ 294485 w 561576"/>
              <a:gd name="connsiteY24" fmla="*/ 20545 h 561576"/>
              <a:gd name="connsiteX25" fmla="*/ 315031 w 561576"/>
              <a:gd name="connsiteY25" fmla="*/ 0 h 561576"/>
              <a:gd name="connsiteX26" fmla="*/ 335576 w 561576"/>
              <a:gd name="connsiteY26" fmla="*/ 42105 h 561576"/>
              <a:gd name="connsiteX27" fmla="*/ 335576 w 561576"/>
              <a:gd name="connsiteY27" fmla="*/ 226000 h 561576"/>
              <a:gd name="connsiteX28" fmla="*/ 519444 w 561576"/>
              <a:gd name="connsiteY28" fmla="*/ 226000 h 561576"/>
              <a:gd name="connsiteX29" fmla="*/ 518822 w 561576"/>
              <a:gd name="connsiteY29" fmla="*/ 220277 h 561576"/>
              <a:gd name="connsiteX30" fmla="*/ 341299 w 561576"/>
              <a:gd name="connsiteY30" fmla="*/ 42755 h 561576"/>
              <a:gd name="connsiteX31" fmla="*/ 335576 w 561576"/>
              <a:gd name="connsiteY31" fmla="*/ 42105 h 561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561576" h="561576">
                <a:moveTo>
                  <a:pt x="232849" y="68485"/>
                </a:moveTo>
                <a:cubicBezTo>
                  <a:pt x="244195" y="68485"/>
                  <a:pt x="253394" y="77684"/>
                  <a:pt x="253394" y="89030"/>
                </a:cubicBezTo>
                <a:lnTo>
                  <a:pt x="253394" y="308182"/>
                </a:lnTo>
                <a:lnTo>
                  <a:pt x="472546" y="308182"/>
                </a:lnTo>
                <a:cubicBezTo>
                  <a:pt x="482947" y="308182"/>
                  <a:pt x="491544" y="315913"/>
                  <a:pt x="492905" y="325939"/>
                </a:cubicBezTo>
                <a:lnTo>
                  <a:pt x="493091" y="328728"/>
                </a:lnTo>
                <a:cubicBezTo>
                  <a:pt x="493091" y="464892"/>
                  <a:pt x="382710" y="561576"/>
                  <a:pt x="246546" y="561576"/>
                </a:cubicBezTo>
                <a:cubicBezTo>
                  <a:pt x="110382" y="561576"/>
                  <a:pt x="0" y="451195"/>
                  <a:pt x="0" y="315031"/>
                </a:cubicBezTo>
                <a:cubicBezTo>
                  <a:pt x="0" y="178867"/>
                  <a:pt x="96685" y="68485"/>
                  <a:pt x="232849" y="68485"/>
                </a:cubicBezTo>
                <a:close/>
                <a:moveTo>
                  <a:pt x="212303" y="110589"/>
                </a:moveTo>
                <a:lnTo>
                  <a:pt x="206580" y="111239"/>
                </a:lnTo>
                <a:cubicBezTo>
                  <a:pt x="105516" y="124137"/>
                  <a:pt x="41091" y="210461"/>
                  <a:pt x="41091" y="315031"/>
                </a:cubicBezTo>
                <a:cubicBezTo>
                  <a:pt x="41091" y="428499"/>
                  <a:pt x="133076" y="520485"/>
                  <a:pt x="246546" y="520485"/>
                </a:cubicBezTo>
                <a:cubicBezTo>
                  <a:pt x="351117" y="520485"/>
                  <a:pt x="437440" y="456060"/>
                  <a:pt x="450338" y="354996"/>
                </a:cubicBezTo>
                <a:lnTo>
                  <a:pt x="450959" y="349273"/>
                </a:lnTo>
                <a:lnTo>
                  <a:pt x="232849" y="349273"/>
                </a:lnTo>
                <a:cubicBezTo>
                  <a:pt x="222447" y="349273"/>
                  <a:pt x="213851" y="341542"/>
                  <a:pt x="212491" y="331516"/>
                </a:cubicBezTo>
                <a:lnTo>
                  <a:pt x="212303" y="328728"/>
                </a:lnTo>
                <a:lnTo>
                  <a:pt x="212303" y="110589"/>
                </a:lnTo>
                <a:close/>
                <a:moveTo>
                  <a:pt x="315031" y="0"/>
                </a:moveTo>
                <a:cubicBezTo>
                  <a:pt x="451195" y="0"/>
                  <a:pt x="561576" y="110382"/>
                  <a:pt x="561576" y="246546"/>
                </a:cubicBezTo>
                <a:cubicBezTo>
                  <a:pt x="561576" y="257892"/>
                  <a:pt x="552377" y="267091"/>
                  <a:pt x="541031" y="267091"/>
                </a:cubicBezTo>
                <a:lnTo>
                  <a:pt x="315031" y="267091"/>
                </a:lnTo>
                <a:cubicBezTo>
                  <a:pt x="303684" y="267091"/>
                  <a:pt x="294485" y="257892"/>
                  <a:pt x="294485" y="246546"/>
                </a:cubicBezTo>
                <a:lnTo>
                  <a:pt x="294485" y="20545"/>
                </a:lnTo>
                <a:cubicBezTo>
                  <a:pt x="294485" y="9199"/>
                  <a:pt x="303684" y="0"/>
                  <a:pt x="315031" y="0"/>
                </a:cubicBezTo>
                <a:close/>
                <a:moveTo>
                  <a:pt x="335576" y="42105"/>
                </a:moveTo>
                <a:lnTo>
                  <a:pt x="335576" y="226000"/>
                </a:lnTo>
                <a:lnTo>
                  <a:pt x="519444" y="226000"/>
                </a:lnTo>
                <a:lnTo>
                  <a:pt x="518822" y="220277"/>
                </a:lnTo>
                <a:cubicBezTo>
                  <a:pt x="507021" y="127814"/>
                  <a:pt x="433761" y="54555"/>
                  <a:pt x="341299" y="42755"/>
                </a:cubicBezTo>
                <a:lnTo>
                  <a:pt x="335576" y="42105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3600000" scaled="0"/>
          </a:gra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1" name="Graphic 121" descr="Data Bar Vertical&#10;Keyword: fluent-icon;&#10;Metaphor: data viz, visualization, chart, map, trending, graph.&#10;&#10;Used in data viz scenarios.">
            <a:extLst>
              <a:ext uri="{FF2B5EF4-FFF2-40B4-BE49-F238E27FC236}">
                <a16:creationId xmlns:a16="http://schemas.microsoft.com/office/drawing/2014/main" id="{7B8F7128-06A4-3076-142C-99F33D52E92C}"/>
              </a:ext>
            </a:extLst>
          </p:cNvPr>
          <p:cNvSpPr/>
          <p:nvPr/>
        </p:nvSpPr>
        <p:spPr>
          <a:xfrm>
            <a:off x="1671292" y="3179877"/>
            <a:ext cx="479344" cy="493091"/>
          </a:xfrm>
          <a:custGeom>
            <a:avLst/>
            <a:gdLst>
              <a:gd name="connsiteX0" fmla="*/ 61611 w 479344"/>
              <a:gd name="connsiteY0" fmla="*/ 0 h 493091"/>
              <a:gd name="connsiteX1" fmla="*/ 123223 w 479344"/>
              <a:gd name="connsiteY1" fmla="*/ 61611 h 493091"/>
              <a:gd name="connsiteX2" fmla="*/ 123223 w 479344"/>
              <a:gd name="connsiteY2" fmla="*/ 431480 h 493091"/>
              <a:gd name="connsiteX3" fmla="*/ 61611 w 479344"/>
              <a:gd name="connsiteY3" fmla="*/ 493091 h 493091"/>
              <a:gd name="connsiteX4" fmla="*/ 0 w 479344"/>
              <a:gd name="connsiteY4" fmla="*/ 431480 h 493091"/>
              <a:gd name="connsiteX5" fmla="*/ 0 w 479344"/>
              <a:gd name="connsiteY5" fmla="*/ 61611 h 493091"/>
              <a:gd name="connsiteX6" fmla="*/ 61611 w 479344"/>
              <a:gd name="connsiteY6" fmla="*/ 0 h 493091"/>
              <a:gd name="connsiteX7" fmla="*/ 239672 w 479344"/>
              <a:gd name="connsiteY7" fmla="*/ 109576 h 493091"/>
              <a:gd name="connsiteX8" fmla="*/ 301284 w 479344"/>
              <a:gd name="connsiteY8" fmla="*/ 171187 h 493091"/>
              <a:gd name="connsiteX9" fmla="*/ 301284 w 479344"/>
              <a:gd name="connsiteY9" fmla="*/ 431480 h 493091"/>
              <a:gd name="connsiteX10" fmla="*/ 239672 w 479344"/>
              <a:gd name="connsiteY10" fmla="*/ 493091 h 493091"/>
              <a:gd name="connsiteX11" fmla="*/ 178061 w 479344"/>
              <a:gd name="connsiteY11" fmla="*/ 431480 h 493091"/>
              <a:gd name="connsiteX12" fmla="*/ 178061 w 479344"/>
              <a:gd name="connsiteY12" fmla="*/ 171187 h 493091"/>
              <a:gd name="connsiteX13" fmla="*/ 239672 w 479344"/>
              <a:gd name="connsiteY13" fmla="*/ 109576 h 493091"/>
              <a:gd name="connsiteX14" fmla="*/ 417733 w 479344"/>
              <a:gd name="connsiteY14" fmla="*/ 219152 h 493091"/>
              <a:gd name="connsiteX15" fmla="*/ 479345 w 479344"/>
              <a:gd name="connsiteY15" fmla="*/ 280763 h 493091"/>
              <a:gd name="connsiteX16" fmla="*/ 479345 w 479344"/>
              <a:gd name="connsiteY16" fmla="*/ 431480 h 493091"/>
              <a:gd name="connsiteX17" fmla="*/ 417733 w 479344"/>
              <a:gd name="connsiteY17" fmla="*/ 493091 h 493091"/>
              <a:gd name="connsiteX18" fmla="*/ 356121 w 479344"/>
              <a:gd name="connsiteY18" fmla="*/ 431480 h 493091"/>
              <a:gd name="connsiteX19" fmla="*/ 356121 w 479344"/>
              <a:gd name="connsiteY19" fmla="*/ 280763 h 493091"/>
              <a:gd name="connsiteX20" fmla="*/ 417733 w 479344"/>
              <a:gd name="connsiteY20" fmla="*/ 219152 h 493091"/>
              <a:gd name="connsiteX21" fmla="*/ 61611 w 479344"/>
              <a:gd name="connsiteY21" fmla="*/ 41091 h 493091"/>
              <a:gd name="connsiteX22" fmla="*/ 41091 w 479344"/>
              <a:gd name="connsiteY22" fmla="*/ 61611 h 493091"/>
              <a:gd name="connsiteX23" fmla="*/ 41091 w 479344"/>
              <a:gd name="connsiteY23" fmla="*/ 431480 h 493091"/>
              <a:gd name="connsiteX24" fmla="*/ 61611 w 479344"/>
              <a:gd name="connsiteY24" fmla="*/ 452000 h 493091"/>
              <a:gd name="connsiteX25" fmla="*/ 82132 w 479344"/>
              <a:gd name="connsiteY25" fmla="*/ 431480 h 493091"/>
              <a:gd name="connsiteX26" fmla="*/ 82132 w 479344"/>
              <a:gd name="connsiteY26" fmla="*/ 61611 h 493091"/>
              <a:gd name="connsiteX27" fmla="*/ 61611 w 479344"/>
              <a:gd name="connsiteY27" fmla="*/ 41091 h 493091"/>
              <a:gd name="connsiteX28" fmla="*/ 239672 w 479344"/>
              <a:gd name="connsiteY28" fmla="*/ 150667 h 493091"/>
              <a:gd name="connsiteX29" fmla="*/ 219152 w 479344"/>
              <a:gd name="connsiteY29" fmla="*/ 171187 h 493091"/>
              <a:gd name="connsiteX30" fmla="*/ 219152 w 479344"/>
              <a:gd name="connsiteY30" fmla="*/ 431480 h 493091"/>
              <a:gd name="connsiteX31" fmla="*/ 239672 w 479344"/>
              <a:gd name="connsiteY31" fmla="*/ 452000 h 493091"/>
              <a:gd name="connsiteX32" fmla="*/ 260193 w 479344"/>
              <a:gd name="connsiteY32" fmla="*/ 431480 h 493091"/>
              <a:gd name="connsiteX33" fmla="*/ 260193 w 479344"/>
              <a:gd name="connsiteY33" fmla="*/ 171187 h 493091"/>
              <a:gd name="connsiteX34" fmla="*/ 239672 w 479344"/>
              <a:gd name="connsiteY34" fmla="*/ 150667 h 493091"/>
              <a:gd name="connsiteX35" fmla="*/ 417733 w 479344"/>
              <a:gd name="connsiteY35" fmla="*/ 260243 h 493091"/>
              <a:gd name="connsiteX36" fmla="*/ 397212 w 479344"/>
              <a:gd name="connsiteY36" fmla="*/ 280763 h 493091"/>
              <a:gd name="connsiteX37" fmla="*/ 397212 w 479344"/>
              <a:gd name="connsiteY37" fmla="*/ 431480 h 493091"/>
              <a:gd name="connsiteX38" fmla="*/ 417733 w 479344"/>
              <a:gd name="connsiteY38" fmla="*/ 452000 h 493091"/>
              <a:gd name="connsiteX39" fmla="*/ 438254 w 479344"/>
              <a:gd name="connsiteY39" fmla="*/ 431480 h 493091"/>
              <a:gd name="connsiteX40" fmla="*/ 438254 w 479344"/>
              <a:gd name="connsiteY40" fmla="*/ 280763 h 493091"/>
              <a:gd name="connsiteX41" fmla="*/ 417733 w 479344"/>
              <a:gd name="connsiteY41" fmla="*/ 260243 h 493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479344" h="493091">
                <a:moveTo>
                  <a:pt x="61611" y="0"/>
                </a:moveTo>
                <a:cubicBezTo>
                  <a:pt x="95638" y="0"/>
                  <a:pt x="123223" y="27584"/>
                  <a:pt x="123223" y="61611"/>
                </a:cubicBezTo>
                <a:lnTo>
                  <a:pt x="123223" y="431480"/>
                </a:lnTo>
                <a:cubicBezTo>
                  <a:pt x="123223" y="465508"/>
                  <a:pt x="95638" y="493091"/>
                  <a:pt x="61611" y="493091"/>
                </a:cubicBezTo>
                <a:cubicBezTo>
                  <a:pt x="27584" y="493091"/>
                  <a:pt x="0" y="465508"/>
                  <a:pt x="0" y="431480"/>
                </a:cubicBezTo>
                <a:lnTo>
                  <a:pt x="0" y="61611"/>
                </a:lnTo>
                <a:cubicBezTo>
                  <a:pt x="0" y="27584"/>
                  <a:pt x="27584" y="0"/>
                  <a:pt x="61611" y="0"/>
                </a:cubicBezTo>
                <a:close/>
                <a:moveTo>
                  <a:pt x="239672" y="109576"/>
                </a:moveTo>
                <a:cubicBezTo>
                  <a:pt x="273699" y="109576"/>
                  <a:pt x="301284" y="137160"/>
                  <a:pt x="301284" y="171187"/>
                </a:cubicBezTo>
                <a:lnTo>
                  <a:pt x="301284" y="431480"/>
                </a:lnTo>
                <a:cubicBezTo>
                  <a:pt x="301284" y="465508"/>
                  <a:pt x="273699" y="493091"/>
                  <a:pt x="239672" y="493091"/>
                </a:cubicBezTo>
                <a:cubicBezTo>
                  <a:pt x="205644" y="493091"/>
                  <a:pt x="178061" y="465508"/>
                  <a:pt x="178061" y="431480"/>
                </a:cubicBezTo>
                <a:lnTo>
                  <a:pt x="178061" y="171187"/>
                </a:lnTo>
                <a:cubicBezTo>
                  <a:pt x="178061" y="137160"/>
                  <a:pt x="205644" y="109576"/>
                  <a:pt x="239672" y="109576"/>
                </a:cubicBezTo>
                <a:close/>
                <a:moveTo>
                  <a:pt x="417733" y="219152"/>
                </a:moveTo>
                <a:cubicBezTo>
                  <a:pt x="451759" y="219152"/>
                  <a:pt x="479345" y="246735"/>
                  <a:pt x="479345" y="280763"/>
                </a:cubicBezTo>
                <a:lnTo>
                  <a:pt x="479345" y="431480"/>
                </a:lnTo>
                <a:cubicBezTo>
                  <a:pt x="479345" y="465508"/>
                  <a:pt x="451759" y="493091"/>
                  <a:pt x="417733" y="493091"/>
                </a:cubicBezTo>
                <a:cubicBezTo>
                  <a:pt x="383704" y="493091"/>
                  <a:pt x="356121" y="465508"/>
                  <a:pt x="356121" y="431480"/>
                </a:cubicBezTo>
                <a:lnTo>
                  <a:pt x="356121" y="280763"/>
                </a:lnTo>
                <a:cubicBezTo>
                  <a:pt x="356121" y="246735"/>
                  <a:pt x="383704" y="219152"/>
                  <a:pt x="417733" y="219152"/>
                </a:cubicBezTo>
                <a:close/>
                <a:moveTo>
                  <a:pt x="61611" y="41091"/>
                </a:moveTo>
                <a:cubicBezTo>
                  <a:pt x="50278" y="41091"/>
                  <a:pt x="41091" y="50278"/>
                  <a:pt x="41091" y="61611"/>
                </a:cubicBezTo>
                <a:lnTo>
                  <a:pt x="41091" y="431480"/>
                </a:lnTo>
                <a:cubicBezTo>
                  <a:pt x="41091" y="442812"/>
                  <a:pt x="50278" y="452000"/>
                  <a:pt x="61611" y="452000"/>
                </a:cubicBezTo>
                <a:cubicBezTo>
                  <a:pt x="72944" y="452000"/>
                  <a:pt x="82132" y="442812"/>
                  <a:pt x="82132" y="431480"/>
                </a:cubicBezTo>
                <a:lnTo>
                  <a:pt x="82132" y="61611"/>
                </a:lnTo>
                <a:cubicBezTo>
                  <a:pt x="82132" y="50278"/>
                  <a:pt x="72944" y="41091"/>
                  <a:pt x="61611" y="41091"/>
                </a:cubicBezTo>
                <a:close/>
                <a:moveTo>
                  <a:pt x="239672" y="150667"/>
                </a:moveTo>
                <a:cubicBezTo>
                  <a:pt x="228340" y="150667"/>
                  <a:pt x="219152" y="159854"/>
                  <a:pt x="219152" y="171187"/>
                </a:cubicBezTo>
                <a:lnTo>
                  <a:pt x="219152" y="431480"/>
                </a:lnTo>
                <a:cubicBezTo>
                  <a:pt x="219152" y="442812"/>
                  <a:pt x="228340" y="452000"/>
                  <a:pt x="239672" y="452000"/>
                </a:cubicBezTo>
                <a:cubicBezTo>
                  <a:pt x="251005" y="452000"/>
                  <a:pt x="260193" y="442812"/>
                  <a:pt x="260193" y="431480"/>
                </a:cubicBezTo>
                <a:lnTo>
                  <a:pt x="260193" y="171187"/>
                </a:lnTo>
                <a:cubicBezTo>
                  <a:pt x="260193" y="159854"/>
                  <a:pt x="251005" y="150667"/>
                  <a:pt x="239672" y="150667"/>
                </a:cubicBezTo>
                <a:close/>
                <a:moveTo>
                  <a:pt x="417733" y="260243"/>
                </a:moveTo>
                <a:cubicBezTo>
                  <a:pt x="406400" y="260243"/>
                  <a:pt x="397212" y="269431"/>
                  <a:pt x="397212" y="280763"/>
                </a:cubicBezTo>
                <a:lnTo>
                  <a:pt x="397212" y="431480"/>
                </a:lnTo>
                <a:cubicBezTo>
                  <a:pt x="397212" y="442812"/>
                  <a:pt x="406400" y="452000"/>
                  <a:pt x="417733" y="452000"/>
                </a:cubicBezTo>
                <a:cubicBezTo>
                  <a:pt x="429066" y="452000"/>
                  <a:pt x="438254" y="442812"/>
                  <a:pt x="438254" y="431480"/>
                </a:cubicBezTo>
                <a:lnTo>
                  <a:pt x="438254" y="280763"/>
                </a:lnTo>
                <a:cubicBezTo>
                  <a:pt x="438254" y="269431"/>
                  <a:pt x="429066" y="260243"/>
                  <a:pt x="417733" y="260243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3600000" scaled="0"/>
          </a:gra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2" name="Graphic 123" descr="Desktop Cursor&#10;Keyword: fluent-icon;&#10;Metaphor: monitor, office, tower, pc, large screen, it;&#10;&#10;Used in IT desktop control scenarios.">
            <a:extLst>
              <a:ext uri="{FF2B5EF4-FFF2-40B4-BE49-F238E27FC236}">
                <a16:creationId xmlns:a16="http://schemas.microsoft.com/office/drawing/2014/main" id="{2EBAFCC6-5726-C5B5-1027-487C822EEAF8}"/>
              </a:ext>
            </a:extLst>
          </p:cNvPr>
          <p:cNvSpPr/>
          <p:nvPr/>
        </p:nvSpPr>
        <p:spPr>
          <a:xfrm>
            <a:off x="2549627" y="3168126"/>
            <a:ext cx="568497" cy="563647"/>
          </a:xfrm>
          <a:custGeom>
            <a:avLst/>
            <a:gdLst>
              <a:gd name="connsiteX0" fmla="*/ 563505 w 568497"/>
              <a:gd name="connsiteY0" fmla="*/ 369872 h 563647"/>
              <a:gd name="connsiteX1" fmla="*/ 545699 w 568497"/>
              <a:gd name="connsiteY1" fmla="*/ 409425 h 563647"/>
              <a:gd name="connsiteX2" fmla="*/ 522109 w 568497"/>
              <a:gd name="connsiteY2" fmla="*/ 383266 h 563647"/>
              <a:gd name="connsiteX3" fmla="*/ 528284 w 568497"/>
              <a:gd name="connsiteY3" fmla="*/ 369872 h 563647"/>
              <a:gd name="connsiteX4" fmla="*/ 528284 w 568497"/>
              <a:gd name="connsiteY4" fmla="*/ 52831 h 563647"/>
              <a:gd name="connsiteX5" fmla="*/ 510673 w 568497"/>
              <a:gd name="connsiteY5" fmla="*/ 35221 h 563647"/>
              <a:gd name="connsiteX6" fmla="*/ 52831 w 568497"/>
              <a:gd name="connsiteY6" fmla="*/ 35221 h 563647"/>
              <a:gd name="connsiteX7" fmla="*/ 35221 w 568497"/>
              <a:gd name="connsiteY7" fmla="*/ 52831 h 563647"/>
              <a:gd name="connsiteX8" fmla="*/ 35221 w 568497"/>
              <a:gd name="connsiteY8" fmla="*/ 369872 h 563647"/>
              <a:gd name="connsiteX9" fmla="*/ 52831 w 568497"/>
              <a:gd name="connsiteY9" fmla="*/ 387483 h 563647"/>
              <a:gd name="connsiteX10" fmla="*/ 328805 w 568497"/>
              <a:gd name="connsiteY10" fmla="*/ 387443 h 563647"/>
              <a:gd name="connsiteX11" fmla="*/ 328789 w 568497"/>
              <a:gd name="connsiteY11" fmla="*/ 422696 h 563647"/>
              <a:gd name="connsiteX12" fmla="*/ 223065 w 568497"/>
              <a:gd name="connsiteY12" fmla="*/ 422696 h 563647"/>
              <a:gd name="connsiteX13" fmla="*/ 223065 w 568497"/>
              <a:gd name="connsiteY13" fmla="*/ 481363 h 563647"/>
              <a:gd name="connsiteX14" fmla="*/ 328760 w 568497"/>
              <a:gd name="connsiteY14" fmla="*/ 481363 h 563647"/>
              <a:gd name="connsiteX15" fmla="*/ 328742 w 568497"/>
              <a:gd name="connsiteY15" fmla="*/ 516583 h 563647"/>
              <a:gd name="connsiteX16" fmla="*/ 146753 w 568497"/>
              <a:gd name="connsiteY16" fmla="*/ 516583 h 563647"/>
              <a:gd name="connsiteX17" fmla="*/ 129143 w 568497"/>
              <a:gd name="connsiteY17" fmla="*/ 498973 h 563647"/>
              <a:gd name="connsiteX18" fmla="*/ 144364 w 568497"/>
              <a:gd name="connsiteY18" fmla="*/ 481522 h 563647"/>
              <a:gd name="connsiteX19" fmla="*/ 146753 w 568497"/>
              <a:gd name="connsiteY19" fmla="*/ 481363 h 563647"/>
              <a:gd name="connsiteX20" fmla="*/ 187844 w 568497"/>
              <a:gd name="connsiteY20" fmla="*/ 481351 h 563647"/>
              <a:gd name="connsiteX21" fmla="*/ 187844 w 568497"/>
              <a:gd name="connsiteY21" fmla="*/ 422696 h 563647"/>
              <a:gd name="connsiteX22" fmla="*/ 52831 w 568497"/>
              <a:gd name="connsiteY22" fmla="*/ 422703 h 563647"/>
              <a:gd name="connsiteX23" fmla="*/ 0 w 568497"/>
              <a:gd name="connsiteY23" fmla="*/ 369872 h 563647"/>
              <a:gd name="connsiteX24" fmla="*/ 0 w 568497"/>
              <a:gd name="connsiteY24" fmla="*/ 52831 h 563647"/>
              <a:gd name="connsiteX25" fmla="*/ 52831 w 568497"/>
              <a:gd name="connsiteY25" fmla="*/ 0 h 563647"/>
              <a:gd name="connsiteX26" fmla="*/ 510673 w 568497"/>
              <a:gd name="connsiteY26" fmla="*/ 0 h 563647"/>
              <a:gd name="connsiteX27" fmla="*/ 563505 w 568497"/>
              <a:gd name="connsiteY27" fmla="*/ 52831 h 563647"/>
              <a:gd name="connsiteX28" fmla="*/ 563505 w 568497"/>
              <a:gd name="connsiteY28" fmla="*/ 369872 h 563647"/>
              <a:gd name="connsiteX29" fmla="*/ 363638 w 568497"/>
              <a:gd name="connsiteY29" fmla="*/ 259469 h 563647"/>
              <a:gd name="connsiteX30" fmla="*/ 383029 w 568497"/>
              <a:gd name="connsiteY30" fmla="*/ 264114 h 563647"/>
              <a:gd name="connsiteX31" fmla="*/ 563965 w 568497"/>
              <a:gd name="connsiteY31" fmla="*/ 464736 h 563647"/>
              <a:gd name="connsiteX32" fmla="*/ 565989 w 568497"/>
              <a:gd name="connsiteY32" fmla="*/ 485587 h 563647"/>
              <a:gd name="connsiteX33" fmla="*/ 546643 w 568497"/>
              <a:gd name="connsiteY33" fmla="*/ 493622 h 563647"/>
              <a:gd name="connsiteX34" fmla="*/ 443590 w 568497"/>
              <a:gd name="connsiteY34" fmla="*/ 468030 h 563647"/>
              <a:gd name="connsiteX35" fmla="*/ 384426 w 568497"/>
              <a:gd name="connsiteY35" fmla="*/ 555873 h 563647"/>
              <a:gd name="connsiteX36" fmla="*/ 364672 w 568497"/>
              <a:gd name="connsiteY36" fmla="*/ 562878 h 563647"/>
              <a:gd name="connsiteX37" fmla="*/ 352208 w 568497"/>
              <a:gd name="connsiteY37" fmla="*/ 546028 h 563647"/>
              <a:gd name="connsiteX38" fmla="*/ 352342 w 568497"/>
              <a:gd name="connsiteY38" fmla="*/ 275901 h 563647"/>
              <a:gd name="connsiteX39" fmla="*/ 363638 w 568497"/>
              <a:gd name="connsiteY39" fmla="*/ 259469 h 563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68497" h="563647">
                <a:moveTo>
                  <a:pt x="563505" y="369872"/>
                </a:moveTo>
                <a:cubicBezTo>
                  <a:pt x="563505" y="385614"/>
                  <a:pt x="556623" y="399746"/>
                  <a:pt x="545699" y="409425"/>
                </a:cubicBezTo>
                <a:lnTo>
                  <a:pt x="522109" y="383266"/>
                </a:lnTo>
                <a:cubicBezTo>
                  <a:pt x="525889" y="380037"/>
                  <a:pt x="528284" y="375233"/>
                  <a:pt x="528284" y="369872"/>
                </a:cubicBezTo>
                <a:lnTo>
                  <a:pt x="528284" y="52831"/>
                </a:lnTo>
                <a:cubicBezTo>
                  <a:pt x="528284" y="43105"/>
                  <a:pt x="520399" y="35221"/>
                  <a:pt x="510673" y="35221"/>
                </a:cubicBezTo>
                <a:lnTo>
                  <a:pt x="52831" y="35221"/>
                </a:lnTo>
                <a:cubicBezTo>
                  <a:pt x="43105" y="35221"/>
                  <a:pt x="35221" y="43105"/>
                  <a:pt x="35221" y="52831"/>
                </a:cubicBezTo>
                <a:lnTo>
                  <a:pt x="35221" y="369872"/>
                </a:lnTo>
                <a:cubicBezTo>
                  <a:pt x="35221" y="379598"/>
                  <a:pt x="43105" y="387483"/>
                  <a:pt x="52831" y="387483"/>
                </a:cubicBezTo>
                <a:lnTo>
                  <a:pt x="328805" y="387443"/>
                </a:lnTo>
                <a:lnTo>
                  <a:pt x="328789" y="422696"/>
                </a:lnTo>
                <a:lnTo>
                  <a:pt x="223065" y="422696"/>
                </a:lnTo>
                <a:lnTo>
                  <a:pt x="223065" y="481363"/>
                </a:lnTo>
                <a:lnTo>
                  <a:pt x="328760" y="481363"/>
                </a:lnTo>
                <a:lnTo>
                  <a:pt x="328742" y="516583"/>
                </a:lnTo>
                <a:lnTo>
                  <a:pt x="146753" y="516583"/>
                </a:lnTo>
                <a:cubicBezTo>
                  <a:pt x="137027" y="516583"/>
                  <a:pt x="129143" y="508699"/>
                  <a:pt x="129143" y="498973"/>
                </a:cubicBezTo>
                <a:cubicBezTo>
                  <a:pt x="129143" y="490057"/>
                  <a:pt x="135768" y="482689"/>
                  <a:pt x="144364" y="481522"/>
                </a:cubicBezTo>
                <a:lnTo>
                  <a:pt x="146753" y="481363"/>
                </a:lnTo>
                <a:lnTo>
                  <a:pt x="187844" y="481351"/>
                </a:lnTo>
                <a:lnTo>
                  <a:pt x="187844" y="422696"/>
                </a:lnTo>
                <a:lnTo>
                  <a:pt x="52831" y="422703"/>
                </a:lnTo>
                <a:cubicBezTo>
                  <a:pt x="23653" y="422703"/>
                  <a:pt x="0" y="399049"/>
                  <a:pt x="0" y="369872"/>
                </a:cubicBezTo>
                <a:lnTo>
                  <a:pt x="0" y="52831"/>
                </a:lnTo>
                <a:cubicBezTo>
                  <a:pt x="0" y="23653"/>
                  <a:pt x="23653" y="0"/>
                  <a:pt x="52831" y="0"/>
                </a:cubicBezTo>
                <a:lnTo>
                  <a:pt x="510673" y="0"/>
                </a:lnTo>
                <a:cubicBezTo>
                  <a:pt x="539853" y="0"/>
                  <a:pt x="563505" y="23653"/>
                  <a:pt x="563505" y="52831"/>
                </a:cubicBezTo>
                <a:lnTo>
                  <a:pt x="563505" y="369872"/>
                </a:lnTo>
                <a:close/>
                <a:moveTo>
                  <a:pt x="363638" y="259469"/>
                </a:moveTo>
                <a:cubicBezTo>
                  <a:pt x="370441" y="256856"/>
                  <a:pt x="378149" y="258704"/>
                  <a:pt x="383029" y="264114"/>
                </a:cubicBezTo>
                <a:lnTo>
                  <a:pt x="563965" y="464736"/>
                </a:lnTo>
                <a:cubicBezTo>
                  <a:pt x="569149" y="470486"/>
                  <a:pt x="569971" y="478946"/>
                  <a:pt x="565989" y="485587"/>
                </a:cubicBezTo>
                <a:cubicBezTo>
                  <a:pt x="562009" y="492227"/>
                  <a:pt x="554157" y="495486"/>
                  <a:pt x="546643" y="493622"/>
                </a:cubicBezTo>
                <a:lnTo>
                  <a:pt x="443590" y="468030"/>
                </a:lnTo>
                <a:lnTo>
                  <a:pt x="384426" y="555873"/>
                </a:lnTo>
                <a:cubicBezTo>
                  <a:pt x="380098" y="562298"/>
                  <a:pt x="372080" y="565141"/>
                  <a:pt x="364672" y="562878"/>
                </a:cubicBezTo>
                <a:cubicBezTo>
                  <a:pt x="357263" y="560612"/>
                  <a:pt x="352203" y="553774"/>
                  <a:pt x="352208" y="546028"/>
                </a:cubicBezTo>
                <a:lnTo>
                  <a:pt x="352342" y="275901"/>
                </a:lnTo>
                <a:cubicBezTo>
                  <a:pt x="352344" y="268612"/>
                  <a:pt x="356836" y="262080"/>
                  <a:pt x="363638" y="259469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3600000" scaled="0"/>
          </a:gradFill>
          <a:ln w="2347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3" name="Graphic 125" descr="Filter&#10;Keyword: fluent-icon, outlook, teams;&#10;Metaphor: dropdown, sort, line, 3 lines;&#10;&#10;Used to filter list.">
            <a:extLst>
              <a:ext uri="{FF2B5EF4-FFF2-40B4-BE49-F238E27FC236}">
                <a16:creationId xmlns:a16="http://schemas.microsoft.com/office/drawing/2014/main" id="{7516233C-2F2E-010A-1C86-8674C2CA21D1}"/>
              </a:ext>
            </a:extLst>
          </p:cNvPr>
          <p:cNvSpPr/>
          <p:nvPr/>
        </p:nvSpPr>
        <p:spPr>
          <a:xfrm>
            <a:off x="3506036" y="3262059"/>
            <a:ext cx="516571" cy="316987"/>
          </a:xfrm>
          <a:custGeom>
            <a:avLst/>
            <a:gdLst>
              <a:gd name="connsiteX0" fmla="*/ 334598 w 516571"/>
              <a:gd name="connsiteY0" fmla="*/ 281766 h 316987"/>
              <a:gd name="connsiteX1" fmla="*/ 352208 w 516571"/>
              <a:gd name="connsiteY1" fmla="*/ 299377 h 316987"/>
              <a:gd name="connsiteX2" fmla="*/ 334598 w 516571"/>
              <a:gd name="connsiteY2" fmla="*/ 316987 h 316987"/>
              <a:gd name="connsiteX3" fmla="*/ 181974 w 516571"/>
              <a:gd name="connsiteY3" fmla="*/ 316987 h 316987"/>
              <a:gd name="connsiteX4" fmla="*/ 164364 w 516571"/>
              <a:gd name="connsiteY4" fmla="*/ 299377 h 316987"/>
              <a:gd name="connsiteX5" fmla="*/ 181974 w 516571"/>
              <a:gd name="connsiteY5" fmla="*/ 281766 h 316987"/>
              <a:gd name="connsiteX6" fmla="*/ 334598 w 516571"/>
              <a:gd name="connsiteY6" fmla="*/ 281766 h 316987"/>
              <a:gd name="connsiteX7" fmla="*/ 428520 w 516571"/>
              <a:gd name="connsiteY7" fmla="*/ 140883 h 316987"/>
              <a:gd name="connsiteX8" fmla="*/ 446130 w 516571"/>
              <a:gd name="connsiteY8" fmla="*/ 158494 h 316987"/>
              <a:gd name="connsiteX9" fmla="*/ 428520 w 516571"/>
              <a:gd name="connsiteY9" fmla="*/ 176104 h 316987"/>
              <a:gd name="connsiteX10" fmla="*/ 88052 w 516571"/>
              <a:gd name="connsiteY10" fmla="*/ 176104 h 316987"/>
              <a:gd name="connsiteX11" fmla="*/ 70442 w 516571"/>
              <a:gd name="connsiteY11" fmla="*/ 158494 h 316987"/>
              <a:gd name="connsiteX12" fmla="*/ 88052 w 516571"/>
              <a:gd name="connsiteY12" fmla="*/ 140883 h 316987"/>
              <a:gd name="connsiteX13" fmla="*/ 428520 w 516571"/>
              <a:gd name="connsiteY13" fmla="*/ 140883 h 316987"/>
              <a:gd name="connsiteX14" fmla="*/ 498961 w 516571"/>
              <a:gd name="connsiteY14" fmla="*/ 0 h 316987"/>
              <a:gd name="connsiteX15" fmla="*/ 516572 w 516571"/>
              <a:gd name="connsiteY15" fmla="*/ 17610 h 316987"/>
              <a:gd name="connsiteX16" fmla="*/ 498961 w 516571"/>
              <a:gd name="connsiteY16" fmla="*/ 35221 h 316987"/>
              <a:gd name="connsiteX17" fmla="*/ 17610 w 516571"/>
              <a:gd name="connsiteY17" fmla="*/ 35221 h 316987"/>
              <a:gd name="connsiteX18" fmla="*/ 0 w 516571"/>
              <a:gd name="connsiteY18" fmla="*/ 17610 h 316987"/>
              <a:gd name="connsiteX19" fmla="*/ 17610 w 516571"/>
              <a:gd name="connsiteY19" fmla="*/ 0 h 316987"/>
              <a:gd name="connsiteX20" fmla="*/ 498961 w 516571"/>
              <a:gd name="connsiteY20" fmla="*/ 0 h 316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516571" h="316987">
                <a:moveTo>
                  <a:pt x="334598" y="281766"/>
                </a:moveTo>
                <a:cubicBezTo>
                  <a:pt x="344323" y="281766"/>
                  <a:pt x="352208" y="289651"/>
                  <a:pt x="352208" y="299377"/>
                </a:cubicBezTo>
                <a:cubicBezTo>
                  <a:pt x="352208" y="309102"/>
                  <a:pt x="344323" y="316987"/>
                  <a:pt x="334598" y="316987"/>
                </a:cubicBezTo>
                <a:lnTo>
                  <a:pt x="181974" y="316987"/>
                </a:lnTo>
                <a:cubicBezTo>
                  <a:pt x="172249" y="316987"/>
                  <a:pt x="164364" y="309102"/>
                  <a:pt x="164364" y="299377"/>
                </a:cubicBezTo>
                <a:cubicBezTo>
                  <a:pt x="164364" y="289651"/>
                  <a:pt x="172249" y="281766"/>
                  <a:pt x="181974" y="281766"/>
                </a:cubicBezTo>
                <a:lnTo>
                  <a:pt x="334598" y="281766"/>
                </a:lnTo>
                <a:close/>
                <a:moveTo>
                  <a:pt x="428520" y="140883"/>
                </a:moveTo>
                <a:cubicBezTo>
                  <a:pt x="438245" y="140883"/>
                  <a:pt x="446130" y="148768"/>
                  <a:pt x="446130" y="158494"/>
                </a:cubicBezTo>
                <a:cubicBezTo>
                  <a:pt x="446130" y="168219"/>
                  <a:pt x="438245" y="176104"/>
                  <a:pt x="428520" y="176104"/>
                </a:cubicBezTo>
                <a:lnTo>
                  <a:pt x="88052" y="176104"/>
                </a:lnTo>
                <a:cubicBezTo>
                  <a:pt x="78326" y="176104"/>
                  <a:pt x="70442" y="168219"/>
                  <a:pt x="70442" y="158494"/>
                </a:cubicBezTo>
                <a:cubicBezTo>
                  <a:pt x="70442" y="148768"/>
                  <a:pt x="78326" y="140883"/>
                  <a:pt x="88052" y="140883"/>
                </a:cubicBezTo>
                <a:lnTo>
                  <a:pt x="428520" y="140883"/>
                </a:lnTo>
                <a:close/>
                <a:moveTo>
                  <a:pt x="498961" y="0"/>
                </a:moveTo>
                <a:cubicBezTo>
                  <a:pt x="508687" y="0"/>
                  <a:pt x="516572" y="7885"/>
                  <a:pt x="516572" y="17610"/>
                </a:cubicBezTo>
                <a:cubicBezTo>
                  <a:pt x="516572" y="27336"/>
                  <a:pt x="508687" y="35221"/>
                  <a:pt x="498961" y="35221"/>
                </a:cubicBezTo>
                <a:lnTo>
                  <a:pt x="17610" y="35221"/>
                </a:lnTo>
                <a:cubicBezTo>
                  <a:pt x="7885" y="35221"/>
                  <a:pt x="0" y="27336"/>
                  <a:pt x="0" y="17610"/>
                </a:cubicBezTo>
                <a:cubicBezTo>
                  <a:pt x="0" y="7885"/>
                  <a:pt x="7885" y="0"/>
                  <a:pt x="17610" y="0"/>
                </a:cubicBezTo>
                <a:lnTo>
                  <a:pt x="498961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3600000" scaled="0"/>
          </a:gradFill>
          <a:ln w="2347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4" name="Graphic 127" descr="Flash&#10;Keyword: fluent-icon;&#10;Metaphor: lightning, flash, bolt, power, ai;&#10;&#10;Used in flash scenarios for cameras &amp; in general intelligence for processes (AI).">
            <a:extLst>
              <a:ext uri="{FF2B5EF4-FFF2-40B4-BE49-F238E27FC236}">
                <a16:creationId xmlns:a16="http://schemas.microsoft.com/office/drawing/2014/main" id="{ADA3B9B1-A0A5-C0FD-0BFC-C4F1FD7FF43F}"/>
              </a:ext>
            </a:extLst>
          </p:cNvPr>
          <p:cNvSpPr/>
          <p:nvPr/>
        </p:nvSpPr>
        <p:spPr>
          <a:xfrm>
            <a:off x="4456332" y="3144657"/>
            <a:ext cx="457841" cy="563614"/>
          </a:xfrm>
          <a:custGeom>
            <a:avLst/>
            <a:gdLst>
              <a:gd name="connsiteX0" fmla="*/ 103500 w 457841"/>
              <a:gd name="connsiteY0" fmla="*/ 19998 h 563614"/>
              <a:gd name="connsiteX1" fmla="*/ 132693 w 457841"/>
              <a:gd name="connsiteY1" fmla="*/ 0 h 563614"/>
              <a:gd name="connsiteX2" fmla="*/ 332636 w 457841"/>
              <a:gd name="connsiteY2" fmla="*/ 0 h 563614"/>
              <a:gd name="connsiteX3" fmla="*/ 362029 w 457841"/>
              <a:gd name="connsiteY3" fmla="*/ 42085 h 563614"/>
              <a:gd name="connsiteX4" fmla="*/ 312889 w 457841"/>
              <a:gd name="connsiteY4" fmla="*/ 176104 h 563614"/>
              <a:gd name="connsiteX5" fmla="*/ 426471 w 457841"/>
              <a:gd name="connsiteY5" fmla="*/ 176104 h 563614"/>
              <a:gd name="connsiteX6" fmla="*/ 448940 w 457841"/>
              <a:gd name="connsiteY6" fmla="*/ 229212 h 563614"/>
              <a:gd name="connsiteX7" fmla="*/ 135855 w 457841"/>
              <a:gd name="connsiteY7" fmla="*/ 551865 h 563614"/>
              <a:gd name="connsiteX8" fmla="*/ 71213 w 457841"/>
              <a:gd name="connsiteY8" fmla="*/ 517070 h 563614"/>
              <a:gd name="connsiteX9" fmla="*/ 110194 w 457841"/>
              <a:gd name="connsiteY9" fmla="*/ 340468 h 563614"/>
              <a:gd name="connsiteX10" fmla="*/ 45047 w 457841"/>
              <a:gd name="connsiteY10" fmla="*/ 340468 h 563614"/>
              <a:gd name="connsiteX11" fmla="*/ 3082 w 457841"/>
              <a:gd name="connsiteY11" fmla="*/ 279205 h 563614"/>
              <a:gd name="connsiteX12" fmla="*/ 103500 w 457841"/>
              <a:gd name="connsiteY12" fmla="*/ 19998 h 563614"/>
              <a:gd name="connsiteX13" fmla="*/ 135374 w 457841"/>
              <a:gd name="connsiteY13" fmla="*/ 35221 h 563614"/>
              <a:gd name="connsiteX14" fmla="*/ 35924 w 457841"/>
              <a:gd name="connsiteY14" fmla="*/ 291929 h 563614"/>
              <a:gd name="connsiteX15" fmla="*/ 45047 w 457841"/>
              <a:gd name="connsiteY15" fmla="*/ 305247 h 563614"/>
              <a:gd name="connsiteX16" fmla="*/ 132116 w 457841"/>
              <a:gd name="connsiteY16" fmla="*/ 305247 h 563614"/>
              <a:gd name="connsiteX17" fmla="*/ 145846 w 457841"/>
              <a:gd name="connsiteY17" fmla="*/ 311829 h 563614"/>
              <a:gd name="connsiteX18" fmla="*/ 149312 w 457841"/>
              <a:gd name="connsiteY18" fmla="*/ 326654 h 563614"/>
              <a:gd name="connsiteX19" fmla="*/ 105606 w 457841"/>
              <a:gd name="connsiteY19" fmla="*/ 524663 h 563614"/>
              <a:gd name="connsiteX20" fmla="*/ 105697 w 457841"/>
              <a:gd name="connsiteY20" fmla="*/ 526551 h 563614"/>
              <a:gd name="connsiteX21" fmla="*/ 107081 w 457841"/>
              <a:gd name="connsiteY21" fmla="*/ 527880 h 563614"/>
              <a:gd name="connsiteX22" fmla="*/ 108953 w 457841"/>
              <a:gd name="connsiteY22" fmla="*/ 528303 h 563614"/>
              <a:gd name="connsiteX23" fmla="*/ 110579 w 457841"/>
              <a:gd name="connsiteY23" fmla="*/ 527338 h 563614"/>
              <a:gd name="connsiteX24" fmla="*/ 417222 w 457841"/>
              <a:gd name="connsiteY24" fmla="*/ 211325 h 563614"/>
              <a:gd name="connsiteX25" fmla="*/ 287675 w 457841"/>
              <a:gd name="connsiteY25" fmla="*/ 211325 h 563614"/>
              <a:gd name="connsiteX26" fmla="*/ 273237 w 457841"/>
              <a:gd name="connsiteY26" fmla="*/ 203799 h 563614"/>
              <a:gd name="connsiteX27" fmla="*/ 271140 w 457841"/>
              <a:gd name="connsiteY27" fmla="*/ 187652 h 563614"/>
              <a:gd name="connsiteX28" fmla="*/ 327033 w 457841"/>
              <a:gd name="connsiteY28" fmla="*/ 35221 h 563614"/>
              <a:gd name="connsiteX29" fmla="*/ 135374 w 457841"/>
              <a:gd name="connsiteY29" fmla="*/ 35221 h 563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457841" h="563614">
                <a:moveTo>
                  <a:pt x="103500" y="19998"/>
                </a:moveTo>
                <a:cubicBezTo>
                  <a:pt x="108170" y="7944"/>
                  <a:pt x="119767" y="0"/>
                  <a:pt x="132693" y="0"/>
                </a:cubicBezTo>
                <a:lnTo>
                  <a:pt x="332636" y="0"/>
                </a:lnTo>
                <a:cubicBezTo>
                  <a:pt x="354398" y="0"/>
                  <a:pt x="369521" y="21654"/>
                  <a:pt x="362029" y="42085"/>
                </a:cubicBezTo>
                <a:lnTo>
                  <a:pt x="312889" y="176104"/>
                </a:lnTo>
                <a:lnTo>
                  <a:pt x="426471" y="176104"/>
                </a:lnTo>
                <a:cubicBezTo>
                  <a:pt x="454138" y="176104"/>
                  <a:pt x="468205" y="209360"/>
                  <a:pt x="448940" y="229212"/>
                </a:cubicBezTo>
                <a:lnTo>
                  <a:pt x="135855" y="551865"/>
                </a:lnTo>
                <a:cubicBezTo>
                  <a:pt x="109083" y="579457"/>
                  <a:pt x="62927" y="554610"/>
                  <a:pt x="71213" y="517070"/>
                </a:cubicBezTo>
                <a:lnTo>
                  <a:pt x="110194" y="340468"/>
                </a:lnTo>
                <a:lnTo>
                  <a:pt x="45047" y="340468"/>
                </a:lnTo>
                <a:cubicBezTo>
                  <a:pt x="13417" y="340468"/>
                  <a:pt x="-8344" y="308699"/>
                  <a:pt x="3082" y="279205"/>
                </a:cubicBezTo>
                <a:lnTo>
                  <a:pt x="103500" y="19998"/>
                </a:lnTo>
                <a:close/>
                <a:moveTo>
                  <a:pt x="135374" y="35221"/>
                </a:moveTo>
                <a:lnTo>
                  <a:pt x="35924" y="291929"/>
                </a:lnTo>
                <a:cubicBezTo>
                  <a:pt x="33440" y="298341"/>
                  <a:pt x="38171" y="305247"/>
                  <a:pt x="45047" y="305247"/>
                </a:cubicBezTo>
                <a:lnTo>
                  <a:pt x="132116" y="305247"/>
                </a:lnTo>
                <a:cubicBezTo>
                  <a:pt x="137453" y="305247"/>
                  <a:pt x="142502" y="307668"/>
                  <a:pt x="145846" y="311829"/>
                </a:cubicBezTo>
                <a:cubicBezTo>
                  <a:pt x="149187" y="315989"/>
                  <a:pt x="150462" y="321442"/>
                  <a:pt x="149312" y="326654"/>
                </a:cubicBezTo>
                <a:lnTo>
                  <a:pt x="105606" y="524663"/>
                </a:lnTo>
                <a:cubicBezTo>
                  <a:pt x="105361" y="525774"/>
                  <a:pt x="105566" y="526286"/>
                  <a:pt x="105697" y="526551"/>
                </a:cubicBezTo>
                <a:cubicBezTo>
                  <a:pt x="105899" y="526955"/>
                  <a:pt x="106342" y="527481"/>
                  <a:pt x="107081" y="527880"/>
                </a:cubicBezTo>
                <a:cubicBezTo>
                  <a:pt x="107820" y="528277"/>
                  <a:pt x="108504" y="528357"/>
                  <a:pt x="108953" y="528303"/>
                </a:cubicBezTo>
                <a:cubicBezTo>
                  <a:pt x="109245" y="528267"/>
                  <a:pt x="109785" y="528157"/>
                  <a:pt x="110579" y="527338"/>
                </a:cubicBezTo>
                <a:lnTo>
                  <a:pt x="417222" y="211325"/>
                </a:lnTo>
                <a:lnTo>
                  <a:pt x="287675" y="211325"/>
                </a:lnTo>
                <a:cubicBezTo>
                  <a:pt x="281923" y="211325"/>
                  <a:pt x="276532" y="208514"/>
                  <a:pt x="273237" y="203799"/>
                </a:cubicBezTo>
                <a:cubicBezTo>
                  <a:pt x="269943" y="199082"/>
                  <a:pt x="269161" y="193052"/>
                  <a:pt x="271140" y="187652"/>
                </a:cubicBezTo>
                <a:lnTo>
                  <a:pt x="327033" y="35221"/>
                </a:lnTo>
                <a:lnTo>
                  <a:pt x="135374" y="35221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3600000" scaled="0"/>
          </a:gradFill>
          <a:ln w="2347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5" name="Graphic 129" descr="Delete&#10;Keyword: fluent-icon;&#10;Metaphor: trash, can, remove, edit, byee;&#10;Action: destructive;&#10;&#10;Used in the deletion of content.">
            <a:extLst>
              <a:ext uri="{FF2B5EF4-FFF2-40B4-BE49-F238E27FC236}">
                <a16:creationId xmlns:a16="http://schemas.microsoft.com/office/drawing/2014/main" id="{8DAB9949-57B0-02D8-E9C1-B12FE0D6D243}"/>
              </a:ext>
            </a:extLst>
          </p:cNvPr>
          <p:cNvSpPr/>
          <p:nvPr/>
        </p:nvSpPr>
        <p:spPr>
          <a:xfrm>
            <a:off x="5387543" y="3150527"/>
            <a:ext cx="469610" cy="557662"/>
          </a:xfrm>
          <a:custGeom>
            <a:avLst/>
            <a:gdLst>
              <a:gd name="connsiteX0" fmla="*/ 234805 w 469610"/>
              <a:gd name="connsiteY0" fmla="*/ 0 h 557662"/>
              <a:gd name="connsiteX1" fmla="*/ 322735 w 469610"/>
              <a:gd name="connsiteY1" fmla="*/ 83376 h 557662"/>
              <a:gd name="connsiteX2" fmla="*/ 322857 w 469610"/>
              <a:gd name="connsiteY2" fmla="*/ 88052 h 557662"/>
              <a:gd name="connsiteX3" fmla="*/ 452000 w 469610"/>
              <a:gd name="connsiteY3" fmla="*/ 88052 h 557662"/>
              <a:gd name="connsiteX4" fmla="*/ 469611 w 469610"/>
              <a:gd name="connsiteY4" fmla="*/ 105662 h 557662"/>
              <a:gd name="connsiteX5" fmla="*/ 454391 w 469610"/>
              <a:gd name="connsiteY5" fmla="*/ 123112 h 557662"/>
              <a:gd name="connsiteX6" fmla="*/ 452000 w 469610"/>
              <a:gd name="connsiteY6" fmla="*/ 123273 h 557662"/>
              <a:gd name="connsiteX7" fmla="*/ 427134 w 469610"/>
              <a:gd name="connsiteY7" fmla="*/ 123273 h 557662"/>
              <a:gd name="connsiteX8" fmla="*/ 398491 w 469610"/>
              <a:gd name="connsiteY8" fmla="*/ 476728 h 557662"/>
              <a:gd name="connsiteX9" fmla="*/ 310727 w 469610"/>
              <a:gd name="connsiteY9" fmla="*/ 557663 h 557662"/>
              <a:gd name="connsiteX10" fmla="*/ 158883 w 469610"/>
              <a:gd name="connsiteY10" fmla="*/ 557663 h 557662"/>
              <a:gd name="connsiteX11" fmla="*/ 71119 w 469610"/>
              <a:gd name="connsiteY11" fmla="*/ 476728 h 557662"/>
              <a:gd name="connsiteX12" fmla="*/ 42453 w 469610"/>
              <a:gd name="connsiteY12" fmla="*/ 123273 h 557662"/>
              <a:gd name="connsiteX13" fmla="*/ 17610 w 469610"/>
              <a:gd name="connsiteY13" fmla="*/ 123273 h 557662"/>
              <a:gd name="connsiteX14" fmla="*/ 161 w 469610"/>
              <a:gd name="connsiteY14" fmla="*/ 108052 h 557662"/>
              <a:gd name="connsiteX15" fmla="*/ 0 w 469610"/>
              <a:gd name="connsiteY15" fmla="*/ 105662 h 557662"/>
              <a:gd name="connsiteX16" fmla="*/ 15221 w 469610"/>
              <a:gd name="connsiteY16" fmla="*/ 88213 h 557662"/>
              <a:gd name="connsiteX17" fmla="*/ 17610 w 469610"/>
              <a:gd name="connsiteY17" fmla="*/ 88052 h 557662"/>
              <a:gd name="connsiteX18" fmla="*/ 146753 w 469610"/>
              <a:gd name="connsiteY18" fmla="*/ 88052 h 557662"/>
              <a:gd name="connsiteX19" fmla="*/ 234805 w 469610"/>
              <a:gd name="connsiteY19" fmla="*/ 0 h 557662"/>
              <a:gd name="connsiteX20" fmla="*/ 391813 w 469610"/>
              <a:gd name="connsiteY20" fmla="*/ 123273 h 557662"/>
              <a:gd name="connsiteX21" fmla="*/ 77797 w 469610"/>
              <a:gd name="connsiteY21" fmla="*/ 123273 h 557662"/>
              <a:gd name="connsiteX22" fmla="*/ 106225 w 469610"/>
              <a:gd name="connsiteY22" fmla="*/ 473880 h 557662"/>
              <a:gd name="connsiteX23" fmla="*/ 158883 w 469610"/>
              <a:gd name="connsiteY23" fmla="*/ 522442 h 557662"/>
              <a:gd name="connsiteX24" fmla="*/ 310727 w 469610"/>
              <a:gd name="connsiteY24" fmla="*/ 522442 h 557662"/>
              <a:gd name="connsiteX25" fmla="*/ 363385 w 469610"/>
              <a:gd name="connsiteY25" fmla="*/ 473880 h 557662"/>
              <a:gd name="connsiteX26" fmla="*/ 391813 w 469610"/>
              <a:gd name="connsiteY26" fmla="*/ 123273 h 557662"/>
              <a:gd name="connsiteX27" fmla="*/ 181974 w 469610"/>
              <a:gd name="connsiteY27" fmla="*/ 211325 h 557662"/>
              <a:gd name="connsiteX28" fmla="*/ 199425 w 469610"/>
              <a:gd name="connsiteY28" fmla="*/ 226545 h 557662"/>
              <a:gd name="connsiteX29" fmla="*/ 199585 w 469610"/>
              <a:gd name="connsiteY29" fmla="*/ 228935 h 557662"/>
              <a:gd name="connsiteX30" fmla="*/ 199585 w 469610"/>
              <a:gd name="connsiteY30" fmla="*/ 416780 h 557662"/>
              <a:gd name="connsiteX31" fmla="*/ 181974 w 469610"/>
              <a:gd name="connsiteY31" fmla="*/ 434390 h 557662"/>
              <a:gd name="connsiteX32" fmla="*/ 164523 w 469610"/>
              <a:gd name="connsiteY32" fmla="*/ 419170 h 557662"/>
              <a:gd name="connsiteX33" fmla="*/ 164364 w 469610"/>
              <a:gd name="connsiteY33" fmla="*/ 416780 h 557662"/>
              <a:gd name="connsiteX34" fmla="*/ 164364 w 469610"/>
              <a:gd name="connsiteY34" fmla="*/ 228935 h 557662"/>
              <a:gd name="connsiteX35" fmla="*/ 181974 w 469610"/>
              <a:gd name="connsiteY35" fmla="*/ 211325 h 557662"/>
              <a:gd name="connsiteX36" fmla="*/ 287637 w 469610"/>
              <a:gd name="connsiteY36" fmla="*/ 211325 h 557662"/>
              <a:gd name="connsiteX37" fmla="*/ 305087 w 469610"/>
              <a:gd name="connsiteY37" fmla="*/ 226545 h 557662"/>
              <a:gd name="connsiteX38" fmla="*/ 305247 w 469610"/>
              <a:gd name="connsiteY38" fmla="*/ 228935 h 557662"/>
              <a:gd name="connsiteX39" fmla="*/ 305247 w 469610"/>
              <a:gd name="connsiteY39" fmla="*/ 416780 h 557662"/>
              <a:gd name="connsiteX40" fmla="*/ 287637 w 469610"/>
              <a:gd name="connsiteY40" fmla="*/ 434390 h 557662"/>
              <a:gd name="connsiteX41" fmla="*/ 270186 w 469610"/>
              <a:gd name="connsiteY41" fmla="*/ 419170 h 557662"/>
              <a:gd name="connsiteX42" fmla="*/ 270026 w 469610"/>
              <a:gd name="connsiteY42" fmla="*/ 416780 h 557662"/>
              <a:gd name="connsiteX43" fmla="*/ 270026 w 469610"/>
              <a:gd name="connsiteY43" fmla="*/ 228935 h 557662"/>
              <a:gd name="connsiteX44" fmla="*/ 287637 w 469610"/>
              <a:gd name="connsiteY44" fmla="*/ 211325 h 557662"/>
              <a:gd name="connsiteX45" fmla="*/ 234805 w 469610"/>
              <a:gd name="connsiteY45" fmla="*/ 35221 h 557662"/>
              <a:gd name="connsiteX46" fmla="*/ 182096 w 469610"/>
              <a:gd name="connsiteY46" fmla="*/ 84435 h 557662"/>
              <a:gd name="connsiteX47" fmla="*/ 181974 w 469610"/>
              <a:gd name="connsiteY47" fmla="*/ 88052 h 557662"/>
              <a:gd name="connsiteX48" fmla="*/ 287637 w 469610"/>
              <a:gd name="connsiteY48" fmla="*/ 88052 h 557662"/>
              <a:gd name="connsiteX49" fmla="*/ 287514 w 469610"/>
              <a:gd name="connsiteY49" fmla="*/ 84435 h 557662"/>
              <a:gd name="connsiteX50" fmla="*/ 234805 w 469610"/>
              <a:gd name="connsiteY50" fmla="*/ 35221 h 5576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469610" h="557662">
                <a:moveTo>
                  <a:pt x="234805" y="0"/>
                </a:moveTo>
                <a:cubicBezTo>
                  <a:pt x="281867" y="0"/>
                  <a:pt x="320305" y="36920"/>
                  <a:pt x="322735" y="83376"/>
                </a:cubicBezTo>
                <a:lnTo>
                  <a:pt x="322857" y="88052"/>
                </a:lnTo>
                <a:lnTo>
                  <a:pt x="452000" y="88052"/>
                </a:lnTo>
                <a:cubicBezTo>
                  <a:pt x="461726" y="88052"/>
                  <a:pt x="469611" y="95937"/>
                  <a:pt x="469611" y="105662"/>
                </a:cubicBezTo>
                <a:cubicBezTo>
                  <a:pt x="469611" y="114578"/>
                  <a:pt x="462985" y="121946"/>
                  <a:pt x="454391" y="123112"/>
                </a:cubicBezTo>
                <a:lnTo>
                  <a:pt x="452000" y="123273"/>
                </a:lnTo>
                <a:lnTo>
                  <a:pt x="427134" y="123273"/>
                </a:lnTo>
                <a:lnTo>
                  <a:pt x="398491" y="476728"/>
                </a:lnTo>
                <a:cubicBezTo>
                  <a:pt x="394785" y="522447"/>
                  <a:pt x="356599" y="557663"/>
                  <a:pt x="310727" y="557663"/>
                </a:cubicBezTo>
                <a:lnTo>
                  <a:pt x="158883" y="557663"/>
                </a:lnTo>
                <a:cubicBezTo>
                  <a:pt x="113013" y="557663"/>
                  <a:pt x="74827" y="522447"/>
                  <a:pt x="71119" y="476728"/>
                </a:cubicBezTo>
                <a:lnTo>
                  <a:pt x="42453" y="123273"/>
                </a:lnTo>
                <a:lnTo>
                  <a:pt x="17610" y="123273"/>
                </a:lnTo>
                <a:cubicBezTo>
                  <a:pt x="8695" y="123273"/>
                  <a:pt x="1327" y="116648"/>
                  <a:pt x="161" y="108052"/>
                </a:cubicBezTo>
                <a:lnTo>
                  <a:pt x="0" y="105662"/>
                </a:lnTo>
                <a:cubicBezTo>
                  <a:pt x="0" y="96747"/>
                  <a:pt x="6625" y="89379"/>
                  <a:pt x="15221" y="88213"/>
                </a:cubicBezTo>
                <a:lnTo>
                  <a:pt x="17610" y="88052"/>
                </a:lnTo>
                <a:lnTo>
                  <a:pt x="146753" y="88052"/>
                </a:lnTo>
                <a:cubicBezTo>
                  <a:pt x="146753" y="39422"/>
                  <a:pt x="186175" y="0"/>
                  <a:pt x="234805" y="0"/>
                </a:cubicBezTo>
                <a:close/>
                <a:moveTo>
                  <a:pt x="391813" y="123273"/>
                </a:moveTo>
                <a:lnTo>
                  <a:pt x="77797" y="123273"/>
                </a:lnTo>
                <a:lnTo>
                  <a:pt x="106225" y="473880"/>
                </a:lnTo>
                <a:cubicBezTo>
                  <a:pt x="108449" y="501312"/>
                  <a:pt x="131361" y="522442"/>
                  <a:pt x="158883" y="522442"/>
                </a:cubicBezTo>
                <a:lnTo>
                  <a:pt x="310727" y="522442"/>
                </a:lnTo>
                <a:cubicBezTo>
                  <a:pt x="338249" y="522442"/>
                  <a:pt x="361161" y="501312"/>
                  <a:pt x="363385" y="473880"/>
                </a:cubicBezTo>
                <a:lnTo>
                  <a:pt x="391813" y="123273"/>
                </a:lnTo>
                <a:close/>
                <a:moveTo>
                  <a:pt x="181974" y="211325"/>
                </a:moveTo>
                <a:cubicBezTo>
                  <a:pt x="190890" y="211325"/>
                  <a:pt x="198258" y="217951"/>
                  <a:pt x="199425" y="226545"/>
                </a:cubicBezTo>
                <a:lnTo>
                  <a:pt x="199585" y="228935"/>
                </a:lnTo>
                <a:lnTo>
                  <a:pt x="199585" y="416780"/>
                </a:lnTo>
                <a:cubicBezTo>
                  <a:pt x="199585" y="426505"/>
                  <a:pt x="191700" y="434390"/>
                  <a:pt x="181974" y="434390"/>
                </a:cubicBezTo>
                <a:cubicBezTo>
                  <a:pt x="173059" y="434390"/>
                  <a:pt x="165690" y="427764"/>
                  <a:pt x="164523" y="419170"/>
                </a:cubicBezTo>
                <a:lnTo>
                  <a:pt x="164364" y="416780"/>
                </a:lnTo>
                <a:lnTo>
                  <a:pt x="164364" y="228935"/>
                </a:lnTo>
                <a:cubicBezTo>
                  <a:pt x="164364" y="219210"/>
                  <a:pt x="172249" y="211325"/>
                  <a:pt x="181974" y="211325"/>
                </a:cubicBezTo>
                <a:close/>
                <a:moveTo>
                  <a:pt x="287637" y="211325"/>
                </a:moveTo>
                <a:cubicBezTo>
                  <a:pt x="296552" y="211325"/>
                  <a:pt x="303920" y="217951"/>
                  <a:pt x="305087" y="226545"/>
                </a:cubicBezTo>
                <a:lnTo>
                  <a:pt x="305247" y="228935"/>
                </a:lnTo>
                <a:lnTo>
                  <a:pt x="305247" y="416780"/>
                </a:lnTo>
                <a:cubicBezTo>
                  <a:pt x="305247" y="426505"/>
                  <a:pt x="297362" y="434390"/>
                  <a:pt x="287637" y="434390"/>
                </a:cubicBezTo>
                <a:cubicBezTo>
                  <a:pt x="278721" y="434390"/>
                  <a:pt x="271353" y="427764"/>
                  <a:pt x="270186" y="419170"/>
                </a:cubicBezTo>
                <a:lnTo>
                  <a:pt x="270026" y="416780"/>
                </a:lnTo>
                <a:lnTo>
                  <a:pt x="270026" y="228935"/>
                </a:lnTo>
                <a:cubicBezTo>
                  <a:pt x="270026" y="219210"/>
                  <a:pt x="277911" y="211325"/>
                  <a:pt x="287637" y="211325"/>
                </a:cubicBezTo>
                <a:close/>
                <a:moveTo>
                  <a:pt x="234805" y="35221"/>
                </a:moveTo>
                <a:cubicBezTo>
                  <a:pt x="206842" y="35221"/>
                  <a:pt x="183956" y="56944"/>
                  <a:pt x="182096" y="84435"/>
                </a:cubicBezTo>
                <a:lnTo>
                  <a:pt x="181974" y="88052"/>
                </a:lnTo>
                <a:lnTo>
                  <a:pt x="287637" y="88052"/>
                </a:lnTo>
                <a:lnTo>
                  <a:pt x="287514" y="84435"/>
                </a:lnTo>
                <a:cubicBezTo>
                  <a:pt x="285655" y="56944"/>
                  <a:pt x="262768" y="35221"/>
                  <a:pt x="234805" y="35221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3600000" scaled="0"/>
          </a:gradFill>
          <a:ln w="2347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6" name="Graphic 131" descr="Desktop&#10;Keyword: fluent-icon;&#10;Metaphor: monitor, office, tower, pc, large screen;&#10;&#10;Used to represent stationary work stations, large screen devices, office, and actions in general computer scenarios.">
            <a:extLst>
              <a:ext uri="{FF2B5EF4-FFF2-40B4-BE49-F238E27FC236}">
                <a16:creationId xmlns:a16="http://schemas.microsoft.com/office/drawing/2014/main" id="{A3BB1429-9EF5-89ED-7233-98768180D841}"/>
              </a:ext>
            </a:extLst>
          </p:cNvPr>
          <p:cNvSpPr/>
          <p:nvPr/>
        </p:nvSpPr>
        <p:spPr>
          <a:xfrm>
            <a:off x="6268955" y="3159332"/>
            <a:ext cx="575273" cy="534182"/>
          </a:xfrm>
          <a:custGeom>
            <a:avLst/>
            <a:gdLst>
              <a:gd name="connsiteX0" fmla="*/ 66773 w 575273"/>
              <a:gd name="connsiteY0" fmla="*/ 0 h 534182"/>
              <a:gd name="connsiteX1" fmla="*/ 0 w 575273"/>
              <a:gd name="connsiteY1" fmla="*/ 66773 h 534182"/>
              <a:gd name="connsiteX2" fmla="*/ 0 w 575273"/>
              <a:gd name="connsiteY2" fmla="*/ 385228 h 534182"/>
              <a:gd name="connsiteX3" fmla="*/ 66773 w 575273"/>
              <a:gd name="connsiteY3" fmla="*/ 452000 h 534182"/>
              <a:gd name="connsiteX4" fmla="*/ 205660 w 575273"/>
              <a:gd name="connsiteY4" fmla="*/ 452000 h 534182"/>
              <a:gd name="connsiteX5" fmla="*/ 205660 w 575273"/>
              <a:gd name="connsiteY5" fmla="*/ 493118 h 534182"/>
              <a:gd name="connsiteX6" fmla="*/ 144064 w 575273"/>
              <a:gd name="connsiteY6" fmla="*/ 493118 h 534182"/>
              <a:gd name="connsiteX7" fmla="*/ 123519 w 575273"/>
              <a:gd name="connsiteY7" fmla="*/ 513651 h 534182"/>
              <a:gd name="connsiteX8" fmla="*/ 144064 w 575273"/>
              <a:gd name="connsiteY8" fmla="*/ 534182 h 534182"/>
              <a:gd name="connsiteX9" fmla="*/ 431543 w 575273"/>
              <a:gd name="connsiteY9" fmla="*/ 534180 h 534182"/>
              <a:gd name="connsiteX10" fmla="*/ 452087 w 575273"/>
              <a:gd name="connsiteY10" fmla="*/ 513647 h 534182"/>
              <a:gd name="connsiteX11" fmla="*/ 431541 w 575273"/>
              <a:gd name="connsiteY11" fmla="*/ 493116 h 534182"/>
              <a:gd name="connsiteX12" fmla="*/ 369940 w 575273"/>
              <a:gd name="connsiteY12" fmla="*/ 493116 h 534182"/>
              <a:gd name="connsiteX13" fmla="*/ 369940 w 575273"/>
              <a:gd name="connsiteY13" fmla="*/ 452000 h 534182"/>
              <a:gd name="connsiteX14" fmla="*/ 508500 w 575273"/>
              <a:gd name="connsiteY14" fmla="*/ 452000 h 534182"/>
              <a:gd name="connsiteX15" fmla="*/ 575273 w 575273"/>
              <a:gd name="connsiteY15" fmla="*/ 385228 h 534182"/>
              <a:gd name="connsiteX16" fmla="*/ 575273 w 575273"/>
              <a:gd name="connsiteY16" fmla="*/ 66773 h 534182"/>
              <a:gd name="connsiteX17" fmla="*/ 508500 w 575273"/>
              <a:gd name="connsiteY17" fmla="*/ 0 h 534182"/>
              <a:gd name="connsiteX18" fmla="*/ 66773 w 575273"/>
              <a:gd name="connsiteY18" fmla="*/ 0 h 534182"/>
              <a:gd name="connsiteX19" fmla="*/ 328849 w 575273"/>
              <a:gd name="connsiteY19" fmla="*/ 452000 h 534182"/>
              <a:gd name="connsiteX20" fmla="*/ 328849 w 575273"/>
              <a:gd name="connsiteY20" fmla="*/ 493118 h 534182"/>
              <a:gd name="connsiteX21" fmla="*/ 246751 w 575273"/>
              <a:gd name="connsiteY21" fmla="*/ 493118 h 534182"/>
              <a:gd name="connsiteX22" fmla="*/ 246751 w 575273"/>
              <a:gd name="connsiteY22" fmla="*/ 452000 h 534182"/>
              <a:gd name="connsiteX23" fmla="*/ 328849 w 575273"/>
              <a:gd name="connsiteY23" fmla="*/ 452000 h 534182"/>
              <a:gd name="connsiteX24" fmla="*/ 41091 w 575273"/>
              <a:gd name="connsiteY24" fmla="*/ 66773 h 534182"/>
              <a:gd name="connsiteX25" fmla="*/ 66773 w 575273"/>
              <a:gd name="connsiteY25" fmla="*/ 41091 h 534182"/>
              <a:gd name="connsiteX26" fmla="*/ 508500 w 575273"/>
              <a:gd name="connsiteY26" fmla="*/ 41091 h 534182"/>
              <a:gd name="connsiteX27" fmla="*/ 534182 w 575273"/>
              <a:gd name="connsiteY27" fmla="*/ 66773 h 534182"/>
              <a:gd name="connsiteX28" fmla="*/ 534182 w 575273"/>
              <a:gd name="connsiteY28" fmla="*/ 385228 h 534182"/>
              <a:gd name="connsiteX29" fmla="*/ 508500 w 575273"/>
              <a:gd name="connsiteY29" fmla="*/ 410909 h 534182"/>
              <a:gd name="connsiteX30" fmla="*/ 66773 w 575273"/>
              <a:gd name="connsiteY30" fmla="*/ 410909 h 534182"/>
              <a:gd name="connsiteX31" fmla="*/ 41091 w 575273"/>
              <a:gd name="connsiteY31" fmla="*/ 385228 h 534182"/>
              <a:gd name="connsiteX32" fmla="*/ 41091 w 575273"/>
              <a:gd name="connsiteY32" fmla="*/ 66773 h 534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575273" h="534182">
                <a:moveTo>
                  <a:pt x="66773" y="0"/>
                </a:moveTo>
                <a:cubicBezTo>
                  <a:pt x="29895" y="0"/>
                  <a:pt x="0" y="29895"/>
                  <a:pt x="0" y="66773"/>
                </a:cubicBezTo>
                <a:lnTo>
                  <a:pt x="0" y="385228"/>
                </a:lnTo>
                <a:cubicBezTo>
                  <a:pt x="0" y="422105"/>
                  <a:pt x="29895" y="452000"/>
                  <a:pt x="66773" y="452000"/>
                </a:cubicBezTo>
                <a:lnTo>
                  <a:pt x="205660" y="452000"/>
                </a:lnTo>
                <a:lnTo>
                  <a:pt x="205660" y="493118"/>
                </a:lnTo>
                <a:lnTo>
                  <a:pt x="144064" y="493118"/>
                </a:lnTo>
                <a:cubicBezTo>
                  <a:pt x="132717" y="493118"/>
                  <a:pt x="123519" y="502312"/>
                  <a:pt x="123519" y="513651"/>
                </a:cubicBezTo>
                <a:cubicBezTo>
                  <a:pt x="123519" y="524990"/>
                  <a:pt x="132717" y="534182"/>
                  <a:pt x="144064" y="534182"/>
                </a:cubicBezTo>
                <a:lnTo>
                  <a:pt x="431543" y="534180"/>
                </a:lnTo>
                <a:cubicBezTo>
                  <a:pt x="442888" y="534180"/>
                  <a:pt x="452087" y="524988"/>
                  <a:pt x="452087" y="513647"/>
                </a:cubicBezTo>
                <a:cubicBezTo>
                  <a:pt x="452087" y="502308"/>
                  <a:pt x="442888" y="493116"/>
                  <a:pt x="431541" y="493116"/>
                </a:cubicBezTo>
                <a:lnTo>
                  <a:pt x="369940" y="493116"/>
                </a:lnTo>
                <a:lnTo>
                  <a:pt x="369940" y="452000"/>
                </a:lnTo>
                <a:lnTo>
                  <a:pt x="508500" y="452000"/>
                </a:lnTo>
                <a:cubicBezTo>
                  <a:pt x="545377" y="452000"/>
                  <a:pt x="575273" y="422105"/>
                  <a:pt x="575273" y="385228"/>
                </a:cubicBezTo>
                <a:lnTo>
                  <a:pt x="575273" y="66773"/>
                </a:lnTo>
                <a:cubicBezTo>
                  <a:pt x="575273" y="29895"/>
                  <a:pt x="545377" y="0"/>
                  <a:pt x="508500" y="0"/>
                </a:cubicBezTo>
                <a:lnTo>
                  <a:pt x="66773" y="0"/>
                </a:lnTo>
                <a:close/>
                <a:moveTo>
                  <a:pt x="328849" y="452000"/>
                </a:moveTo>
                <a:lnTo>
                  <a:pt x="328849" y="493118"/>
                </a:lnTo>
                <a:lnTo>
                  <a:pt x="246751" y="493118"/>
                </a:lnTo>
                <a:lnTo>
                  <a:pt x="246751" y="452000"/>
                </a:lnTo>
                <a:lnTo>
                  <a:pt x="328849" y="452000"/>
                </a:lnTo>
                <a:close/>
                <a:moveTo>
                  <a:pt x="41091" y="66773"/>
                </a:moveTo>
                <a:cubicBezTo>
                  <a:pt x="41091" y="52589"/>
                  <a:pt x="52589" y="41091"/>
                  <a:pt x="66773" y="41091"/>
                </a:cubicBezTo>
                <a:lnTo>
                  <a:pt x="508500" y="41091"/>
                </a:lnTo>
                <a:cubicBezTo>
                  <a:pt x="522685" y="41091"/>
                  <a:pt x="534182" y="52589"/>
                  <a:pt x="534182" y="66773"/>
                </a:cubicBezTo>
                <a:lnTo>
                  <a:pt x="534182" y="385228"/>
                </a:lnTo>
                <a:cubicBezTo>
                  <a:pt x="534182" y="399412"/>
                  <a:pt x="522685" y="410909"/>
                  <a:pt x="508500" y="410909"/>
                </a:cubicBezTo>
                <a:lnTo>
                  <a:pt x="66773" y="410909"/>
                </a:lnTo>
                <a:cubicBezTo>
                  <a:pt x="52589" y="410909"/>
                  <a:pt x="41091" y="399412"/>
                  <a:pt x="41091" y="385228"/>
                </a:cubicBezTo>
                <a:lnTo>
                  <a:pt x="41091" y="66773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3600000" scaled="0"/>
          </a:gradFill>
          <a:ln w="2053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7" name="Graphic 133" descr="Desktop Mac&#10;Keyword: fluent-icon;&#10;Metaphor: monitor, office, tower, pc, large screen;&#10;&#10;Used to represent a specific subset of computers.">
            <a:extLst>
              <a:ext uri="{FF2B5EF4-FFF2-40B4-BE49-F238E27FC236}">
                <a16:creationId xmlns:a16="http://schemas.microsoft.com/office/drawing/2014/main" id="{37774A36-C9B9-8359-37EE-7B390857159F}"/>
              </a:ext>
            </a:extLst>
          </p:cNvPr>
          <p:cNvSpPr/>
          <p:nvPr/>
        </p:nvSpPr>
        <p:spPr>
          <a:xfrm>
            <a:off x="7252755" y="3179877"/>
            <a:ext cx="493091" cy="493091"/>
          </a:xfrm>
          <a:custGeom>
            <a:avLst/>
            <a:gdLst>
              <a:gd name="connsiteX0" fmla="*/ 0 w 493091"/>
              <a:gd name="connsiteY0" fmla="*/ 82182 h 493091"/>
              <a:gd name="connsiteX1" fmla="*/ 82182 w 493091"/>
              <a:gd name="connsiteY1" fmla="*/ 0 h 493091"/>
              <a:gd name="connsiteX2" fmla="*/ 410909 w 493091"/>
              <a:gd name="connsiteY2" fmla="*/ 0 h 493091"/>
              <a:gd name="connsiteX3" fmla="*/ 493091 w 493091"/>
              <a:gd name="connsiteY3" fmla="*/ 82182 h 493091"/>
              <a:gd name="connsiteX4" fmla="*/ 493091 w 493091"/>
              <a:gd name="connsiteY4" fmla="*/ 328728 h 493091"/>
              <a:gd name="connsiteX5" fmla="*/ 410909 w 493091"/>
              <a:gd name="connsiteY5" fmla="*/ 410909 h 493091"/>
              <a:gd name="connsiteX6" fmla="*/ 328728 w 493091"/>
              <a:gd name="connsiteY6" fmla="*/ 410909 h 493091"/>
              <a:gd name="connsiteX7" fmla="*/ 328728 w 493091"/>
              <a:gd name="connsiteY7" fmla="*/ 431455 h 493091"/>
              <a:gd name="connsiteX8" fmla="*/ 349273 w 493091"/>
              <a:gd name="connsiteY8" fmla="*/ 452000 h 493091"/>
              <a:gd name="connsiteX9" fmla="*/ 369818 w 493091"/>
              <a:gd name="connsiteY9" fmla="*/ 452000 h 493091"/>
              <a:gd name="connsiteX10" fmla="*/ 390364 w 493091"/>
              <a:gd name="connsiteY10" fmla="*/ 472546 h 493091"/>
              <a:gd name="connsiteX11" fmla="*/ 369818 w 493091"/>
              <a:gd name="connsiteY11" fmla="*/ 493091 h 493091"/>
              <a:gd name="connsiteX12" fmla="*/ 123273 w 493091"/>
              <a:gd name="connsiteY12" fmla="*/ 493091 h 493091"/>
              <a:gd name="connsiteX13" fmla="*/ 102727 w 493091"/>
              <a:gd name="connsiteY13" fmla="*/ 472546 h 493091"/>
              <a:gd name="connsiteX14" fmla="*/ 123273 w 493091"/>
              <a:gd name="connsiteY14" fmla="*/ 452000 h 493091"/>
              <a:gd name="connsiteX15" fmla="*/ 143818 w 493091"/>
              <a:gd name="connsiteY15" fmla="*/ 452000 h 493091"/>
              <a:gd name="connsiteX16" fmla="*/ 164364 w 493091"/>
              <a:gd name="connsiteY16" fmla="*/ 431455 h 493091"/>
              <a:gd name="connsiteX17" fmla="*/ 164364 w 493091"/>
              <a:gd name="connsiteY17" fmla="*/ 410909 h 493091"/>
              <a:gd name="connsiteX18" fmla="*/ 82182 w 493091"/>
              <a:gd name="connsiteY18" fmla="*/ 410909 h 493091"/>
              <a:gd name="connsiteX19" fmla="*/ 0 w 493091"/>
              <a:gd name="connsiteY19" fmla="*/ 328728 h 493091"/>
              <a:gd name="connsiteX20" fmla="*/ 0 w 493091"/>
              <a:gd name="connsiteY20" fmla="*/ 82182 h 493091"/>
              <a:gd name="connsiteX21" fmla="*/ 291144 w 493091"/>
              <a:gd name="connsiteY21" fmla="*/ 452000 h 493091"/>
              <a:gd name="connsiteX22" fmla="*/ 287637 w 493091"/>
              <a:gd name="connsiteY22" fmla="*/ 431455 h 493091"/>
              <a:gd name="connsiteX23" fmla="*/ 287637 w 493091"/>
              <a:gd name="connsiteY23" fmla="*/ 410909 h 493091"/>
              <a:gd name="connsiteX24" fmla="*/ 205455 w 493091"/>
              <a:gd name="connsiteY24" fmla="*/ 410909 h 493091"/>
              <a:gd name="connsiteX25" fmla="*/ 205455 w 493091"/>
              <a:gd name="connsiteY25" fmla="*/ 431455 h 493091"/>
              <a:gd name="connsiteX26" fmla="*/ 201948 w 493091"/>
              <a:gd name="connsiteY26" fmla="*/ 452000 h 493091"/>
              <a:gd name="connsiteX27" fmla="*/ 291144 w 493091"/>
              <a:gd name="connsiteY27" fmla="*/ 452000 h 493091"/>
              <a:gd name="connsiteX28" fmla="*/ 410909 w 493091"/>
              <a:gd name="connsiteY28" fmla="*/ 369818 h 493091"/>
              <a:gd name="connsiteX29" fmla="*/ 452000 w 493091"/>
              <a:gd name="connsiteY29" fmla="*/ 328728 h 493091"/>
              <a:gd name="connsiteX30" fmla="*/ 41091 w 493091"/>
              <a:gd name="connsiteY30" fmla="*/ 328728 h 493091"/>
              <a:gd name="connsiteX31" fmla="*/ 82182 w 493091"/>
              <a:gd name="connsiteY31" fmla="*/ 369818 h 493091"/>
              <a:gd name="connsiteX32" fmla="*/ 410909 w 493091"/>
              <a:gd name="connsiteY32" fmla="*/ 369818 h 493091"/>
              <a:gd name="connsiteX33" fmla="*/ 452000 w 493091"/>
              <a:gd name="connsiteY33" fmla="*/ 82182 h 493091"/>
              <a:gd name="connsiteX34" fmla="*/ 410909 w 493091"/>
              <a:gd name="connsiteY34" fmla="*/ 41091 h 493091"/>
              <a:gd name="connsiteX35" fmla="*/ 82182 w 493091"/>
              <a:gd name="connsiteY35" fmla="*/ 41091 h 493091"/>
              <a:gd name="connsiteX36" fmla="*/ 41091 w 493091"/>
              <a:gd name="connsiteY36" fmla="*/ 82182 h 493091"/>
              <a:gd name="connsiteX37" fmla="*/ 41091 w 493091"/>
              <a:gd name="connsiteY37" fmla="*/ 287637 h 493091"/>
              <a:gd name="connsiteX38" fmla="*/ 452000 w 493091"/>
              <a:gd name="connsiteY38" fmla="*/ 287637 h 493091"/>
              <a:gd name="connsiteX39" fmla="*/ 452000 w 493091"/>
              <a:gd name="connsiteY39" fmla="*/ 82182 h 493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493091" h="493091">
                <a:moveTo>
                  <a:pt x="0" y="82182"/>
                </a:moveTo>
                <a:cubicBezTo>
                  <a:pt x="0" y="36794"/>
                  <a:pt x="36794" y="0"/>
                  <a:pt x="82182" y="0"/>
                </a:cubicBezTo>
                <a:lnTo>
                  <a:pt x="410909" y="0"/>
                </a:lnTo>
                <a:cubicBezTo>
                  <a:pt x="456296" y="0"/>
                  <a:pt x="493091" y="36794"/>
                  <a:pt x="493091" y="82182"/>
                </a:cubicBezTo>
                <a:lnTo>
                  <a:pt x="493091" y="328728"/>
                </a:lnTo>
                <a:cubicBezTo>
                  <a:pt x="493091" y="374115"/>
                  <a:pt x="456296" y="410909"/>
                  <a:pt x="410909" y="410909"/>
                </a:cubicBezTo>
                <a:lnTo>
                  <a:pt x="328728" y="410909"/>
                </a:lnTo>
                <a:lnTo>
                  <a:pt x="328728" y="431455"/>
                </a:lnTo>
                <a:cubicBezTo>
                  <a:pt x="328728" y="442802"/>
                  <a:pt x="337926" y="452000"/>
                  <a:pt x="349273" y="452000"/>
                </a:cubicBezTo>
                <a:lnTo>
                  <a:pt x="369818" y="452000"/>
                </a:lnTo>
                <a:cubicBezTo>
                  <a:pt x="381166" y="452000"/>
                  <a:pt x="390364" y="461199"/>
                  <a:pt x="390364" y="472546"/>
                </a:cubicBezTo>
                <a:cubicBezTo>
                  <a:pt x="390364" y="483893"/>
                  <a:pt x="381166" y="493091"/>
                  <a:pt x="369818" y="493091"/>
                </a:cubicBezTo>
                <a:lnTo>
                  <a:pt x="123273" y="493091"/>
                </a:lnTo>
                <a:cubicBezTo>
                  <a:pt x="111926" y="493091"/>
                  <a:pt x="102727" y="483893"/>
                  <a:pt x="102727" y="472546"/>
                </a:cubicBezTo>
                <a:cubicBezTo>
                  <a:pt x="102727" y="461199"/>
                  <a:pt x="111926" y="452000"/>
                  <a:pt x="123273" y="452000"/>
                </a:cubicBezTo>
                <a:lnTo>
                  <a:pt x="143818" y="452000"/>
                </a:lnTo>
                <a:cubicBezTo>
                  <a:pt x="155166" y="452000"/>
                  <a:pt x="164364" y="442802"/>
                  <a:pt x="164364" y="431455"/>
                </a:cubicBezTo>
                <a:lnTo>
                  <a:pt x="164364" y="410909"/>
                </a:lnTo>
                <a:lnTo>
                  <a:pt x="82182" y="410909"/>
                </a:lnTo>
                <a:cubicBezTo>
                  <a:pt x="36794" y="410909"/>
                  <a:pt x="0" y="374115"/>
                  <a:pt x="0" y="328728"/>
                </a:cubicBezTo>
                <a:lnTo>
                  <a:pt x="0" y="82182"/>
                </a:lnTo>
                <a:close/>
                <a:moveTo>
                  <a:pt x="291144" y="452000"/>
                </a:moveTo>
                <a:cubicBezTo>
                  <a:pt x="288873" y="445574"/>
                  <a:pt x="287637" y="438658"/>
                  <a:pt x="287637" y="431455"/>
                </a:cubicBezTo>
                <a:lnTo>
                  <a:pt x="287637" y="410909"/>
                </a:lnTo>
                <a:lnTo>
                  <a:pt x="205455" y="410909"/>
                </a:lnTo>
                <a:lnTo>
                  <a:pt x="205455" y="431455"/>
                </a:lnTo>
                <a:cubicBezTo>
                  <a:pt x="205455" y="438658"/>
                  <a:pt x="204218" y="445574"/>
                  <a:pt x="201948" y="452000"/>
                </a:cubicBezTo>
                <a:lnTo>
                  <a:pt x="291144" y="452000"/>
                </a:lnTo>
                <a:close/>
                <a:moveTo>
                  <a:pt x="410909" y="369818"/>
                </a:moveTo>
                <a:cubicBezTo>
                  <a:pt x="433604" y="369818"/>
                  <a:pt x="452000" y="351422"/>
                  <a:pt x="452000" y="328728"/>
                </a:cubicBezTo>
                <a:lnTo>
                  <a:pt x="41091" y="328728"/>
                </a:lnTo>
                <a:cubicBezTo>
                  <a:pt x="41091" y="351422"/>
                  <a:pt x="59488" y="369818"/>
                  <a:pt x="82182" y="369818"/>
                </a:cubicBezTo>
                <a:lnTo>
                  <a:pt x="410909" y="369818"/>
                </a:lnTo>
                <a:close/>
                <a:moveTo>
                  <a:pt x="452000" y="82182"/>
                </a:moveTo>
                <a:cubicBezTo>
                  <a:pt x="452000" y="59488"/>
                  <a:pt x="433604" y="41091"/>
                  <a:pt x="410909" y="41091"/>
                </a:cubicBezTo>
                <a:lnTo>
                  <a:pt x="82182" y="41091"/>
                </a:lnTo>
                <a:cubicBezTo>
                  <a:pt x="59488" y="41091"/>
                  <a:pt x="41091" y="59488"/>
                  <a:pt x="41091" y="82182"/>
                </a:cubicBezTo>
                <a:lnTo>
                  <a:pt x="41091" y="287637"/>
                </a:lnTo>
                <a:lnTo>
                  <a:pt x="452000" y="287637"/>
                </a:lnTo>
                <a:lnTo>
                  <a:pt x="452000" y="82182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3600000" scaled="0"/>
          </a:gradFill>
          <a:ln w="2053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8" name="Graphic 135" descr="Document PDF&#10;Keyword: fluent-icon;&#10;Metaphor: paper, work, file, analog, horizontal, portable document format;&#10;&#10;Used to represent PDF file types and actions.">
            <a:extLst>
              <a:ext uri="{FF2B5EF4-FFF2-40B4-BE49-F238E27FC236}">
                <a16:creationId xmlns:a16="http://schemas.microsoft.com/office/drawing/2014/main" id="{60ABC849-AECC-121F-E6BB-2AB78A0D3F05}"/>
              </a:ext>
            </a:extLst>
          </p:cNvPr>
          <p:cNvSpPr/>
          <p:nvPr/>
        </p:nvSpPr>
        <p:spPr>
          <a:xfrm>
            <a:off x="8174919" y="3138786"/>
            <a:ext cx="534182" cy="575273"/>
          </a:xfrm>
          <a:custGeom>
            <a:avLst/>
            <a:gdLst>
              <a:gd name="connsiteX0" fmla="*/ 123273 w 534182"/>
              <a:gd name="connsiteY0" fmla="*/ 287637 h 575273"/>
              <a:gd name="connsiteX1" fmla="*/ 102727 w 534182"/>
              <a:gd name="connsiteY1" fmla="*/ 308182 h 575273"/>
              <a:gd name="connsiteX2" fmla="*/ 102727 w 534182"/>
              <a:gd name="connsiteY2" fmla="*/ 410907 h 575273"/>
              <a:gd name="connsiteX3" fmla="*/ 123273 w 534182"/>
              <a:gd name="connsiteY3" fmla="*/ 431453 h 575273"/>
              <a:gd name="connsiteX4" fmla="*/ 143818 w 534182"/>
              <a:gd name="connsiteY4" fmla="*/ 410907 h 575273"/>
              <a:gd name="connsiteX5" fmla="*/ 143818 w 534182"/>
              <a:gd name="connsiteY5" fmla="*/ 390364 h 575273"/>
              <a:gd name="connsiteX6" fmla="*/ 154091 w 534182"/>
              <a:gd name="connsiteY6" fmla="*/ 390364 h 575273"/>
              <a:gd name="connsiteX7" fmla="*/ 205455 w 534182"/>
              <a:gd name="connsiteY7" fmla="*/ 339000 h 575273"/>
              <a:gd name="connsiteX8" fmla="*/ 154091 w 534182"/>
              <a:gd name="connsiteY8" fmla="*/ 287637 h 575273"/>
              <a:gd name="connsiteX9" fmla="*/ 123273 w 534182"/>
              <a:gd name="connsiteY9" fmla="*/ 287637 h 575273"/>
              <a:gd name="connsiteX10" fmla="*/ 154091 w 534182"/>
              <a:gd name="connsiteY10" fmla="*/ 349273 h 575273"/>
              <a:gd name="connsiteX11" fmla="*/ 143818 w 534182"/>
              <a:gd name="connsiteY11" fmla="*/ 349273 h 575273"/>
              <a:gd name="connsiteX12" fmla="*/ 143818 w 534182"/>
              <a:gd name="connsiteY12" fmla="*/ 328728 h 575273"/>
              <a:gd name="connsiteX13" fmla="*/ 154091 w 534182"/>
              <a:gd name="connsiteY13" fmla="*/ 328728 h 575273"/>
              <a:gd name="connsiteX14" fmla="*/ 164364 w 534182"/>
              <a:gd name="connsiteY14" fmla="*/ 339000 h 575273"/>
              <a:gd name="connsiteX15" fmla="*/ 154091 w 534182"/>
              <a:gd name="connsiteY15" fmla="*/ 349273 h 575273"/>
              <a:gd name="connsiteX16" fmla="*/ 226000 w 534182"/>
              <a:gd name="connsiteY16" fmla="*/ 308182 h 575273"/>
              <a:gd name="connsiteX17" fmla="*/ 246546 w 534182"/>
              <a:gd name="connsiteY17" fmla="*/ 287637 h 575273"/>
              <a:gd name="connsiteX18" fmla="*/ 256818 w 534182"/>
              <a:gd name="connsiteY18" fmla="*/ 287637 h 575273"/>
              <a:gd name="connsiteX19" fmla="*/ 328728 w 534182"/>
              <a:gd name="connsiteY19" fmla="*/ 359546 h 575273"/>
              <a:gd name="connsiteX20" fmla="*/ 256818 w 534182"/>
              <a:gd name="connsiteY20" fmla="*/ 431455 h 575273"/>
              <a:gd name="connsiteX21" fmla="*/ 246546 w 534182"/>
              <a:gd name="connsiteY21" fmla="*/ 431455 h 575273"/>
              <a:gd name="connsiteX22" fmla="*/ 232018 w 534182"/>
              <a:gd name="connsiteY22" fmla="*/ 425437 h 575273"/>
              <a:gd name="connsiteX23" fmla="*/ 226000 w 534182"/>
              <a:gd name="connsiteY23" fmla="*/ 410909 h 575273"/>
              <a:gd name="connsiteX24" fmla="*/ 226000 w 534182"/>
              <a:gd name="connsiteY24" fmla="*/ 308182 h 575273"/>
              <a:gd name="connsiteX25" fmla="*/ 267091 w 534182"/>
              <a:gd name="connsiteY25" fmla="*/ 388609 h 575273"/>
              <a:gd name="connsiteX26" fmla="*/ 287637 w 534182"/>
              <a:gd name="connsiteY26" fmla="*/ 359546 h 575273"/>
              <a:gd name="connsiteX27" fmla="*/ 267091 w 534182"/>
              <a:gd name="connsiteY27" fmla="*/ 330482 h 575273"/>
              <a:gd name="connsiteX28" fmla="*/ 267091 w 534182"/>
              <a:gd name="connsiteY28" fmla="*/ 388609 h 575273"/>
              <a:gd name="connsiteX29" fmla="*/ 349273 w 534182"/>
              <a:gd name="connsiteY29" fmla="*/ 410907 h 575273"/>
              <a:gd name="connsiteX30" fmla="*/ 349273 w 534182"/>
              <a:gd name="connsiteY30" fmla="*/ 308182 h 575273"/>
              <a:gd name="connsiteX31" fmla="*/ 369818 w 534182"/>
              <a:gd name="connsiteY31" fmla="*/ 287637 h 575273"/>
              <a:gd name="connsiteX32" fmla="*/ 431455 w 534182"/>
              <a:gd name="connsiteY32" fmla="*/ 287637 h 575273"/>
              <a:gd name="connsiteX33" fmla="*/ 452000 w 534182"/>
              <a:gd name="connsiteY33" fmla="*/ 308182 h 575273"/>
              <a:gd name="connsiteX34" fmla="*/ 431455 w 534182"/>
              <a:gd name="connsiteY34" fmla="*/ 328728 h 575273"/>
              <a:gd name="connsiteX35" fmla="*/ 390364 w 534182"/>
              <a:gd name="connsiteY35" fmla="*/ 328728 h 575273"/>
              <a:gd name="connsiteX36" fmla="*/ 390364 w 534182"/>
              <a:gd name="connsiteY36" fmla="*/ 349273 h 575273"/>
              <a:gd name="connsiteX37" fmla="*/ 431455 w 534182"/>
              <a:gd name="connsiteY37" fmla="*/ 349273 h 575273"/>
              <a:gd name="connsiteX38" fmla="*/ 452000 w 534182"/>
              <a:gd name="connsiteY38" fmla="*/ 369818 h 575273"/>
              <a:gd name="connsiteX39" fmla="*/ 431455 w 534182"/>
              <a:gd name="connsiteY39" fmla="*/ 390364 h 575273"/>
              <a:gd name="connsiteX40" fmla="*/ 390364 w 534182"/>
              <a:gd name="connsiteY40" fmla="*/ 390364 h 575273"/>
              <a:gd name="connsiteX41" fmla="*/ 390364 w 534182"/>
              <a:gd name="connsiteY41" fmla="*/ 410907 h 575273"/>
              <a:gd name="connsiteX42" fmla="*/ 369818 w 534182"/>
              <a:gd name="connsiteY42" fmla="*/ 431453 h 575273"/>
              <a:gd name="connsiteX43" fmla="*/ 349273 w 534182"/>
              <a:gd name="connsiteY43" fmla="*/ 410907 h 575273"/>
              <a:gd name="connsiteX44" fmla="*/ 61636 w 534182"/>
              <a:gd name="connsiteY44" fmla="*/ 61636 h 575273"/>
              <a:gd name="connsiteX45" fmla="*/ 61636 w 534182"/>
              <a:gd name="connsiteY45" fmla="*/ 226000 h 575273"/>
              <a:gd name="connsiteX46" fmla="*/ 41091 w 534182"/>
              <a:gd name="connsiteY46" fmla="*/ 226000 h 575273"/>
              <a:gd name="connsiteX47" fmla="*/ 0 w 534182"/>
              <a:gd name="connsiteY47" fmla="*/ 267091 h 575273"/>
              <a:gd name="connsiteX48" fmla="*/ 0 w 534182"/>
              <a:gd name="connsiteY48" fmla="*/ 452000 h 575273"/>
              <a:gd name="connsiteX49" fmla="*/ 41091 w 534182"/>
              <a:gd name="connsiteY49" fmla="*/ 493091 h 575273"/>
              <a:gd name="connsiteX50" fmla="*/ 61636 w 534182"/>
              <a:gd name="connsiteY50" fmla="*/ 493091 h 575273"/>
              <a:gd name="connsiteX51" fmla="*/ 61636 w 534182"/>
              <a:gd name="connsiteY51" fmla="*/ 513637 h 575273"/>
              <a:gd name="connsiteX52" fmla="*/ 123273 w 534182"/>
              <a:gd name="connsiteY52" fmla="*/ 575273 h 575273"/>
              <a:gd name="connsiteX53" fmla="*/ 410909 w 534182"/>
              <a:gd name="connsiteY53" fmla="*/ 575273 h 575273"/>
              <a:gd name="connsiteX54" fmla="*/ 472546 w 534182"/>
              <a:gd name="connsiteY54" fmla="*/ 513637 h 575273"/>
              <a:gd name="connsiteX55" fmla="*/ 472546 w 534182"/>
              <a:gd name="connsiteY55" fmla="*/ 493091 h 575273"/>
              <a:gd name="connsiteX56" fmla="*/ 493091 w 534182"/>
              <a:gd name="connsiteY56" fmla="*/ 493091 h 575273"/>
              <a:gd name="connsiteX57" fmla="*/ 534182 w 534182"/>
              <a:gd name="connsiteY57" fmla="*/ 452000 h 575273"/>
              <a:gd name="connsiteX58" fmla="*/ 534182 w 534182"/>
              <a:gd name="connsiteY58" fmla="*/ 267091 h 575273"/>
              <a:gd name="connsiteX59" fmla="*/ 493091 w 534182"/>
              <a:gd name="connsiteY59" fmla="*/ 226000 h 575273"/>
              <a:gd name="connsiteX60" fmla="*/ 472546 w 534182"/>
              <a:gd name="connsiteY60" fmla="*/ 226000 h 575273"/>
              <a:gd name="connsiteX61" fmla="*/ 472546 w 534182"/>
              <a:gd name="connsiteY61" fmla="*/ 160839 h 575273"/>
              <a:gd name="connsiteX62" fmla="*/ 454492 w 534182"/>
              <a:gd name="connsiteY62" fmla="*/ 117255 h 575273"/>
              <a:gd name="connsiteX63" fmla="*/ 355291 w 534182"/>
              <a:gd name="connsiteY63" fmla="*/ 18053 h 575273"/>
              <a:gd name="connsiteX64" fmla="*/ 311708 w 534182"/>
              <a:gd name="connsiteY64" fmla="*/ 0 h 575273"/>
              <a:gd name="connsiteX65" fmla="*/ 123273 w 534182"/>
              <a:gd name="connsiteY65" fmla="*/ 0 h 575273"/>
              <a:gd name="connsiteX66" fmla="*/ 61636 w 534182"/>
              <a:gd name="connsiteY66" fmla="*/ 61636 h 575273"/>
              <a:gd name="connsiteX67" fmla="*/ 123273 w 534182"/>
              <a:gd name="connsiteY67" fmla="*/ 41091 h 575273"/>
              <a:gd name="connsiteX68" fmla="*/ 267091 w 534182"/>
              <a:gd name="connsiteY68" fmla="*/ 41091 h 575273"/>
              <a:gd name="connsiteX69" fmla="*/ 267091 w 534182"/>
              <a:gd name="connsiteY69" fmla="*/ 143818 h 575273"/>
              <a:gd name="connsiteX70" fmla="*/ 328728 w 534182"/>
              <a:gd name="connsiteY70" fmla="*/ 205455 h 575273"/>
              <a:gd name="connsiteX71" fmla="*/ 431455 w 534182"/>
              <a:gd name="connsiteY71" fmla="*/ 205455 h 575273"/>
              <a:gd name="connsiteX72" fmla="*/ 431455 w 534182"/>
              <a:gd name="connsiteY72" fmla="*/ 226000 h 575273"/>
              <a:gd name="connsiteX73" fmla="*/ 102727 w 534182"/>
              <a:gd name="connsiteY73" fmla="*/ 226000 h 575273"/>
              <a:gd name="connsiteX74" fmla="*/ 102727 w 534182"/>
              <a:gd name="connsiteY74" fmla="*/ 61636 h 575273"/>
              <a:gd name="connsiteX75" fmla="*/ 123273 w 534182"/>
              <a:gd name="connsiteY75" fmla="*/ 41091 h 575273"/>
              <a:gd name="connsiteX76" fmla="*/ 102727 w 534182"/>
              <a:gd name="connsiteY76" fmla="*/ 513637 h 575273"/>
              <a:gd name="connsiteX77" fmla="*/ 102727 w 534182"/>
              <a:gd name="connsiteY77" fmla="*/ 493091 h 575273"/>
              <a:gd name="connsiteX78" fmla="*/ 431455 w 534182"/>
              <a:gd name="connsiteY78" fmla="*/ 493091 h 575273"/>
              <a:gd name="connsiteX79" fmla="*/ 431455 w 534182"/>
              <a:gd name="connsiteY79" fmla="*/ 513637 h 575273"/>
              <a:gd name="connsiteX80" fmla="*/ 410909 w 534182"/>
              <a:gd name="connsiteY80" fmla="*/ 534182 h 575273"/>
              <a:gd name="connsiteX81" fmla="*/ 123273 w 534182"/>
              <a:gd name="connsiteY81" fmla="*/ 534182 h 575273"/>
              <a:gd name="connsiteX82" fmla="*/ 102727 w 534182"/>
              <a:gd name="connsiteY82" fmla="*/ 513637 h 575273"/>
              <a:gd name="connsiteX83" fmla="*/ 431455 w 534182"/>
              <a:gd name="connsiteY83" fmla="*/ 160839 h 575273"/>
              <a:gd name="connsiteX84" fmla="*/ 431455 w 534182"/>
              <a:gd name="connsiteY84" fmla="*/ 164364 h 575273"/>
              <a:gd name="connsiteX85" fmla="*/ 328728 w 534182"/>
              <a:gd name="connsiteY85" fmla="*/ 164364 h 575273"/>
              <a:gd name="connsiteX86" fmla="*/ 308182 w 534182"/>
              <a:gd name="connsiteY86" fmla="*/ 143818 h 575273"/>
              <a:gd name="connsiteX87" fmla="*/ 308182 w 534182"/>
              <a:gd name="connsiteY87" fmla="*/ 41091 h 575273"/>
              <a:gd name="connsiteX88" fmla="*/ 311708 w 534182"/>
              <a:gd name="connsiteY88" fmla="*/ 41091 h 575273"/>
              <a:gd name="connsiteX89" fmla="*/ 326235 w 534182"/>
              <a:gd name="connsiteY89" fmla="*/ 47109 h 575273"/>
              <a:gd name="connsiteX90" fmla="*/ 425437 w 534182"/>
              <a:gd name="connsiteY90" fmla="*/ 146311 h 575273"/>
              <a:gd name="connsiteX91" fmla="*/ 431455 w 534182"/>
              <a:gd name="connsiteY91" fmla="*/ 160839 h 575273"/>
              <a:gd name="connsiteX92" fmla="*/ 41091 w 534182"/>
              <a:gd name="connsiteY92" fmla="*/ 267091 h 575273"/>
              <a:gd name="connsiteX93" fmla="*/ 493091 w 534182"/>
              <a:gd name="connsiteY93" fmla="*/ 267091 h 575273"/>
              <a:gd name="connsiteX94" fmla="*/ 493091 w 534182"/>
              <a:gd name="connsiteY94" fmla="*/ 452000 h 575273"/>
              <a:gd name="connsiteX95" fmla="*/ 41091 w 534182"/>
              <a:gd name="connsiteY95" fmla="*/ 452000 h 575273"/>
              <a:gd name="connsiteX96" fmla="*/ 41091 w 534182"/>
              <a:gd name="connsiteY96" fmla="*/ 267091 h 575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</a:cxnLst>
            <a:rect l="l" t="t" r="r" b="b"/>
            <a:pathLst>
              <a:path w="534182" h="575273">
                <a:moveTo>
                  <a:pt x="123273" y="287637"/>
                </a:moveTo>
                <a:cubicBezTo>
                  <a:pt x="111926" y="287637"/>
                  <a:pt x="102727" y="296835"/>
                  <a:pt x="102727" y="308182"/>
                </a:cubicBezTo>
                <a:lnTo>
                  <a:pt x="102727" y="410907"/>
                </a:lnTo>
                <a:cubicBezTo>
                  <a:pt x="102727" y="422255"/>
                  <a:pt x="111926" y="431453"/>
                  <a:pt x="123273" y="431453"/>
                </a:cubicBezTo>
                <a:cubicBezTo>
                  <a:pt x="134620" y="431453"/>
                  <a:pt x="143818" y="422255"/>
                  <a:pt x="143818" y="410907"/>
                </a:cubicBezTo>
                <a:lnTo>
                  <a:pt x="143818" y="390364"/>
                </a:lnTo>
                <a:lnTo>
                  <a:pt x="154091" y="390364"/>
                </a:lnTo>
                <a:cubicBezTo>
                  <a:pt x="182458" y="390364"/>
                  <a:pt x="205455" y="367367"/>
                  <a:pt x="205455" y="339000"/>
                </a:cubicBezTo>
                <a:cubicBezTo>
                  <a:pt x="205455" y="310633"/>
                  <a:pt x="182458" y="287637"/>
                  <a:pt x="154091" y="287637"/>
                </a:cubicBezTo>
                <a:lnTo>
                  <a:pt x="123273" y="287637"/>
                </a:lnTo>
                <a:close/>
                <a:moveTo>
                  <a:pt x="154091" y="349273"/>
                </a:moveTo>
                <a:lnTo>
                  <a:pt x="143818" y="349273"/>
                </a:lnTo>
                <a:lnTo>
                  <a:pt x="143818" y="328728"/>
                </a:lnTo>
                <a:lnTo>
                  <a:pt x="154091" y="328728"/>
                </a:lnTo>
                <a:cubicBezTo>
                  <a:pt x="159764" y="328728"/>
                  <a:pt x="164364" y="333328"/>
                  <a:pt x="164364" y="339000"/>
                </a:cubicBezTo>
                <a:cubicBezTo>
                  <a:pt x="164364" y="344673"/>
                  <a:pt x="159764" y="349273"/>
                  <a:pt x="154091" y="349273"/>
                </a:cubicBezTo>
                <a:close/>
                <a:moveTo>
                  <a:pt x="226000" y="308182"/>
                </a:moveTo>
                <a:cubicBezTo>
                  <a:pt x="226000" y="296835"/>
                  <a:pt x="235198" y="287637"/>
                  <a:pt x="246546" y="287637"/>
                </a:cubicBezTo>
                <a:lnTo>
                  <a:pt x="256818" y="287637"/>
                </a:lnTo>
                <a:cubicBezTo>
                  <a:pt x="296533" y="287637"/>
                  <a:pt x="328728" y="319831"/>
                  <a:pt x="328728" y="359546"/>
                </a:cubicBezTo>
                <a:cubicBezTo>
                  <a:pt x="328728" y="399260"/>
                  <a:pt x="296533" y="431455"/>
                  <a:pt x="256818" y="431455"/>
                </a:cubicBezTo>
                <a:lnTo>
                  <a:pt x="246546" y="431455"/>
                </a:lnTo>
                <a:cubicBezTo>
                  <a:pt x="241097" y="431455"/>
                  <a:pt x="235870" y="429289"/>
                  <a:pt x="232018" y="425437"/>
                </a:cubicBezTo>
                <a:cubicBezTo>
                  <a:pt x="228166" y="421585"/>
                  <a:pt x="226000" y="416358"/>
                  <a:pt x="226000" y="410909"/>
                </a:cubicBezTo>
                <a:lnTo>
                  <a:pt x="226000" y="308182"/>
                </a:lnTo>
                <a:close/>
                <a:moveTo>
                  <a:pt x="267091" y="388609"/>
                </a:moveTo>
                <a:cubicBezTo>
                  <a:pt x="279061" y="384379"/>
                  <a:pt x="287637" y="372964"/>
                  <a:pt x="287637" y="359546"/>
                </a:cubicBezTo>
                <a:cubicBezTo>
                  <a:pt x="287637" y="346127"/>
                  <a:pt x="279061" y="334712"/>
                  <a:pt x="267091" y="330482"/>
                </a:cubicBezTo>
                <a:lnTo>
                  <a:pt x="267091" y="388609"/>
                </a:lnTo>
                <a:close/>
                <a:moveTo>
                  <a:pt x="349273" y="410907"/>
                </a:moveTo>
                <a:lnTo>
                  <a:pt x="349273" y="308182"/>
                </a:lnTo>
                <a:cubicBezTo>
                  <a:pt x="349273" y="296835"/>
                  <a:pt x="358471" y="287637"/>
                  <a:pt x="369818" y="287637"/>
                </a:cubicBezTo>
                <a:lnTo>
                  <a:pt x="431455" y="287637"/>
                </a:lnTo>
                <a:cubicBezTo>
                  <a:pt x="442802" y="287637"/>
                  <a:pt x="452000" y="296835"/>
                  <a:pt x="452000" y="308182"/>
                </a:cubicBezTo>
                <a:cubicBezTo>
                  <a:pt x="452000" y="319529"/>
                  <a:pt x="442802" y="328728"/>
                  <a:pt x="431455" y="328728"/>
                </a:cubicBezTo>
                <a:lnTo>
                  <a:pt x="390364" y="328728"/>
                </a:lnTo>
                <a:lnTo>
                  <a:pt x="390364" y="349273"/>
                </a:lnTo>
                <a:lnTo>
                  <a:pt x="431455" y="349273"/>
                </a:lnTo>
                <a:cubicBezTo>
                  <a:pt x="442802" y="349273"/>
                  <a:pt x="452000" y="358471"/>
                  <a:pt x="452000" y="369818"/>
                </a:cubicBezTo>
                <a:cubicBezTo>
                  <a:pt x="452000" y="381166"/>
                  <a:pt x="442802" y="390364"/>
                  <a:pt x="431455" y="390364"/>
                </a:cubicBezTo>
                <a:lnTo>
                  <a:pt x="390364" y="390364"/>
                </a:lnTo>
                <a:lnTo>
                  <a:pt x="390364" y="410907"/>
                </a:lnTo>
                <a:cubicBezTo>
                  <a:pt x="390364" y="422255"/>
                  <a:pt x="381166" y="431453"/>
                  <a:pt x="369818" y="431453"/>
                </a:cubicBezTo>
                <a:cubicBezTo>
                  <a:pt x="358471" y="431453"/>
                  <a:pt x="349273" y="422255"/>
                  <a:pt x="349273" y="410907"/>
                </a:cubicBezTo>
                <a:close/>
                <a:moveTo>
                  <a:pt x="61636" y="61636"/>
                </a:moveTo>
                <a:lnTo>
                  <a:pt x="61636" y="226000"/>
                </a:lnTo>
                <a:lnTo>
                  <a:pt x="41091" y="226000"/>
                </a:lnTo>
                <a:cubicBezTo>
                  <a:pt x="18397" y="226000"/>
                  <a:pt x="0" y="244397"/>
                  <a:pt x="0" y="267091"/>
                </a:cubicBezTo>
                <a:lnTo>
                  <a:pt x="0" y="452000"/>
                </a:lnTo>
                <a:cubicBezTo>
                  <a:pt x="0" y="474695"/>
                  <a:pt x="18397" y="493091"/>
                  <a:pt x="41091" y="493091"/>
                </a:cubicBezTo>
                <a:lnTo>
                  <a:pt x="61636" y="493091"/>
                </a:lnTo>
                <a:lnTo>
                  <a:pt x="61636" y="513637"/>
                </a:lnTo>
                <a:cubicBezTo>
                  <a:pt x="61636" y="547679"/>
                  <a:pt x="89232" y="575273"/>
                  <a:pt x="123273" y="575273"/>
                </a:cubicBezTo>
                <a:lnTo>
                  <a:pt x="410909" y="575273"/>
                </a:lnTo>
                <a:cubicBezTo>
                  <a:pt x="444951" y="575273"/>
                  <a:pt x="472546" y="547679"/>
                  <a:pt x="472546" y="513637"/>
                </a:cubicBezTo>
                <a:lnTo>
                  <a:pt x="472546" y="493091"/>
                </a:lnTo>
                <a:lnTo>
                  <a:pt x="493091" y="493091"/>
                </a:lnTo>
                <a:cubicBezTo>
                  <a:pt x="515786" y="493091"/>
                  <a:pt x="534182" y="474695"/>
                  <a:pt x="534182" y="452000"/>
                </a:cubicBezTo>
                <a:lnTo>
                  <a:pt x="534182" y="267091"/>
                </a:lnTo>
                <a:cubicBezTo>
                  <a:pt x="534182" y="244397"/>
                  <a:pt x="515786" y="226000"/>
                  <a:pt x="493091" y="226000"/>
                </a:cubicBezTo>
                <a:lnTo>
                  <a:pt x="472546" y="226000"/>
                </a:lnTo>
                <a:lnTo>
                  <a:pt x="472546" y="160839"/>
                </a:lnTo>
                <a:cubicBezTo>
                  <a:pt x="472546" y="144492"/>
                  <a:pt x="466051" y="128814"/>
                  <a:pt x="454492" y="117255"/>
                </a:cubicBezTo>
                <a:lnTo>
                  <a:pt x="355291" y="18053"/>
                </a:lnTo>
                <a:cubicBezTo>
                  <a:pt x="343732" y="6494"/>
                  <a:pt x="328054" y="0"/>
                  <a:pt x="311708" y="0"/>
                </a:cubicBezTo>
                <a:lnTo>
                  <a:pt x="123273" y="0"/>
                </a:lnTo>
                <a:cubicBezTo>
                  <a:pt x="89232" y="0"/>
                  <a:pt x="61636" y="27596"/>
                  <a:pt x="61636" y="61636"/>
                </a:cubicBezTo>
                <a:close/>
                <a:moveTo>
                  <a:pt x="123273" y="41091"/>
                </a:moveTo>
                <a:lnTo>
                  <a:pt x="267091" y="41091"/>
                </a:lnTo>
                <a:lnTo>
                  <a:pt x="267091" y="143818"/>
                </a:lnTo>
                <a:cubicBezTo>
                  <a:pt x="267091" y="177860"/>
                  <a:pt x="294686" y="205455"/>
                  <a:pt x="328728" y="205455"/>
                </a:cubicBezTo>
                <a:lnTo>
                  <a:pt x="431455" y="205455"/>
                </a:lnTo>
                <a:lnTo>
                  <a:pt x="431455" y="226000"/>
                </a:lnTo>
                <a:lnTo>
                  <a:pt x="102727" y="226000"/>
                </a:lnTo>
                <a:lnTo>
                  <a:pt x="102727" y="61636"/>
                </a:lnTo>
                <a:cubicBezTo>
                  <a:pt x="102727" y="50290"/>
                  <a:pt x="111926" y="41091"/>
                  <a:pt x="123273" y="41091"/>
                </a:cubicBezTo>
                <a:close/>
                <a:moveTo>
                  <a:pt x="102727" y="513637"/>
                </a:moveTo>
                <a:lnTo>
                  <a:pt x="102727" y="493091"/>
                </a:lnTo>
                <a:lnTo>
                  <a:pt x="431455" y="493091"/>
                </a:lnTo>
                <a:lnTo>
                  <a:pt x="431455" y="513637"/>
                </a:lnTo>
                <a:cubicBezTo>
                  <a:pt x="431455" y="524984"/>
                  <a:pt x="422257" y="534182"/>
                  <a:pt x="410909" y="534182"/>
                </a:cubicBezTo>
                <a:lnTo>
                  <a:pt x="123273" y="534182"/>
                </a:lnTo>
                <a:cubicBezTo>
                  <a:pt x="111926" y="534182"/>
                  <a:pt x="102727" y="524984"/>
                  <a:pt x="102727" y="513637"/>
                </a:cubicBezTo>
                <a:close/>
                <a:moveTo>
                  <a:pt x="431455" y="160839"/>
                </a:moveTo>
                <a:lnTo>
                  <a:pt x="431455" y="164364"/>
                </a:lnTo>
                <a:lnTo>
                  <a:pt x="328728" y="164364"/>
                </a:lnTo>
                <a:cubicBezTo>
                  <a:pt x="317380" y="164364"/>
                  <a:pt x="308182" y="155165"/>
                  <a:pt x="308182" y="143818"/>
                </a:cubicBezTo>
                <a:lnTo>
                  <a:pt x="308182" y="41091"/>
                </a:lnTo>
                <a:lnTo>
                  <a:pt x="311708" y="41091"/>
                </a:lnTo>
                <a:cubicBezTo>
                  <a:pt x="317156" y="41091"/>
                  <a:pt x="322381" y="43256"/>
                  <a:pt x="326235" y="47109"/>
                </a:cubicBezTo>
                <a:lnTo>
                  <a:pt x="425437" y="146311"/>
                </a:lnTo>
                <a:cubicBezTo>
                  <a:pt x="429289" y="150164"/>
                  <a:pt x="431455" y="155390"/>
                  <a:pt x="431455" y="160839"/>
                </a:cubicBezTo>
                <a:close/>
                <a:moveTo>
                  <a:pt x="41091" y="267091"/>
                </a:moveTo>
                <a:lnTo>
                  <a:pt x="493091" y="267091"/>
                </a:lnTo>
                <a:lnTo>
                  <a:pt x="493091" y="452000"/>
                </a:lnTo>
                <a:lnTo>
                  <a:pt x="41091" y="452000"/>
                </a:lnTo>
                <a:lnTo>
                  <a:pt x="41091" y="267091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3600000" scaled="0"/>
          </a:gradFill>
          <a:ln w="2053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9" name="Graphic 137" descr="Edit&#10;Keyword: fluent-icon, outlook;&#10;Metaphor: pencil, update, create, draw;&#10;&#10;Used in editing/update or drawing scenarios.">
            <a:extLst>
              <a:ext uri="{FF2B5EF4-FFF2-40B4-BE49-F238E27FC236}">
                <a16:creationId xmlns:a16="http://schemas.microsoft.com/office/drawing/2014/main" id="{B0BAE354-FEC4-EB70-CC90-69EC92FFAFAB}"/>
              </a:ext>
            </a:extLst>
          </p:cNvPr>
          <p:cNvSpPr/>
          <p:nvPr/>
        </p:nvSpPr>
        <p:spPr>
          <a:xfrm>
            <a:off x="9072971" y="3138827"/>
            <a:ext cx="575201" cy="575229"/>
          </a:xfrm>
          <a:custGeom>
            <a:avLst/>
            <a:gdLst>
              <a:gd name="connsiteX0" fmla="*/ 545780 w 575201"/>
              <a:gd name="connsiteY0" fmla="*/ 29421 h 575229"/>
              <a:gd name="connsiteX1" fmla="*/ 403723 w 575201"/>
              <a:gd name="connsiteY1" fmla="*/ 29424 h 575229"/>
              <a:gd name="connsiteX2" fmla="*/ 48416 w 575201"/>
              <a:gd name="connsiteY2" fmla="*/ 384756 h 575229"/>
              <a:gd name="connsiteX3" fmla="*/ 27843 w 575201"/>
              <a:gd name="connsiteY3" fmla="*/ 422576 h 575229"/>
              <a:gd name="connsiteX4" fmla="*/ 456 w 575201"/>
              <a:gd name="connsiteY4" fmla="*/ 550379 h 575229"/>
              <a:gd name="connsiteX5" fmla="*/ 6018 w 575201"/>
              <a:gd name="connsiteY5" fmla="*/ 569211 h 575229"/>
              <a:gd name="connsiteX6" fmla="*/ 24851 w 575201"/>
              <a:gd name="connsiteY6" fmla="*/ 574773 h 575229"/>
              <a:gd name="connsiteX7" fmla="*/ 152651 w 575201"/>
              <a:gd name="connsiteY7" fmla="*/ 547388 h 575229"/>
              <a:gd name="connsiteX8" fmla="*/ 190475 w 575201"/>
              <a:gd name="connsiteY8" fmla="*/ 526809 h 575229"/>
              <a:gd name="connsiteX9" fmla="*/ 545784 w 575201"/>
              <a:gd name="connsiteY9" fmla="*/ 171474 h 575229"/>
              <a:gd name="connsiteX10" fmla="*/ 545780 w 575201"/>
              <a:gd name="connsiteY10" fmla="*/ 29421 h 575229"/>
              <a:gd name="connsiteX11" fmla="*/ 432778 w 575201"/>
              <a:gd name="connsiteY11" fmla="*/ 58478 h 575229"/>
              <a:gd name="connsiteX12" fmla="*/ 516725 w 575201"/>
              <a:gd name="connsiteY12" fmla="*/ 58477 h 575229"/>
              <a:gd name="connsiteX13" fmla="*/ 516727 w 575201"/>
              <a:gd name="connsiteY13" fmla="*/ 142419 h 575229"/>
              <a:gd name="connsiteX14" fmla="*/ 498215 w 575201"/>
              <a:gd name="connsiteY14" fmla="*/ 160933 h 575229"/>
              <a:gd name="connsiteX15" fmla="*/ 414271 w 575201"/>
              <a:gd name="connsiteY15" fmla="*/ 76988 h 575229"/>
              <a:gd name="connsiteX16" fmla="*/ 432778 w 575201"/>
              <a:gd name="connsiteY16" fmla="*/ 58478 h 575229"/>
              <a:gd name="connsiteX17" fmla="*/ 385215 w 575201"/>
              <a:gd name="connsiteY17" fmla="*/ 106045 h 575229"/>
              <a:gd name="connsiteX18" fmla="*/ 469160 w 575201"/>
              <a:gd name="connsiteY18" fmla="*/ 189989 h 575229"/>
              <a:gd name="connsiteX19" fmla="*/ 161419 w 575201"/>
              <a:gd name="connsiteY19" fmla="*/ 497754 h 575229"/>
              <a:gd name="connsiteX20" fmla="*/ 144041 w 575201"/>
              <a:gd name="connsiteY20" fmla="*/ 507209 h 575229"/>
              <a:gd name="connsiteX21" fmla="*/ 47288 w 575201"/>
              <a:gd name="connsiteY21" fmla="*/ 527942 h 575229"/>
              <a:gd name="connsiteX22" fmla="*/ 68022 w 575201"/>
              <a:gd name="connsiteY22" fmla="*/ 431185 h 575229"/>
              <a:gd name="connsiteX23" fmla="*/ 77473 w 575201"/>
              <a:gd name="connsiteY23" fmla="*/ 413811 h 575229"/>
              <a:gd name="connsiteX24" fmla="*/ 385215 w 575201"/>
              <a:gd name="connsiteY24" fmla="*/ 106045 h 5752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575201" h="575229">
                <a:moveTo>
                  <a:pt x="545780" y="29421"/>
                </a:moveTo>
                <a:cubicBezTo>
                  <a:pt x="506553" y="-9808"/>
                  <a:pt x="442950" y="-9807"/>
                  <a:pt x="403723" y="29424"/>
                </a:cubicBezTo>
                <a:lnTo>
                  <a:pt x="48416" y="384756"/>
                </a:lnTo>
                <a:cubicBezTo>
                  <a:pt x="38057" y="395117"/>
                  <a:pt x="30913" y="408250"/>
                  <a:pt x="27843" y="422576"/>
                </a:cubicBezTo>
                <a:lnTo>
                  <a:pt x="456" y="550379"/>
                </a:lnTo>
                <a:cubicBezTo>
                  <a:pt x="-1004" y="557194"/>
                  <a:pt x="1090" y="564284"/>
                  <a:pt x="6018" y="569211"/>
                </a:cubicBezTo>
                <a:cubicBezTo>
                  <a:pt x="10946" y="574140"/>
                  <a:pt x="18036" y="576234"/>
                  <a:pt x="24851" y="574773"/>
                </a:cubicBezTo>
                <a:lnTo>
                  <a:pt x="152651" y="547388"/>
                </a:lnTo>
                <a:cubicBezTo>
                  <a:pt x="166979" y="544318"/>
                  <a:pt x="180114" y="537171"/>
                  <a:pt x="190475" y="526809"/>
                </a:cubicBezTo>
                <a:lnTo>
                  <a:pt x="545784" y="171474"/>
                </a:lnTo>
                <a:cubicBezTo>
                  <a:pt x="585008" y="132246"/>
                  <a:pt x="585008" y="68647"/>
                  <a:pt x="545780" y="29421"/>
                </a:cubicBezTo>
                <a:close/>
                <a:moveTo>
                  <a:pt x="432778" y="58478"/>
                </a:moveTo>
                <a:cubicBezTo>
                  <a:pt x="455959" y="35296"/>
                  <a:pt x="493543" y="35295"/>
                  <a:pt x="516725" y="58477"/>
                </a:cubicBezTo>
                <a:cubicBezTo>
                  <a:pt x="539904" y="81656"/>
                  <a:pt x="539906" y="119238"/>
                  <a:pt x="516727" y="142419"/>
                </a:cubicBezTo>
                <a:lnTo>
                  <a:pt x="498215" y="160933"/>
                </a:lnTo>
                <a:lnTo>
                  <a:pt x="414271" y="76988"/>
                </a:lnTo>
                <a:lnTo>
                  <a:pt x="432778" y="58478"/>
                </a:lnTo>
                <a:close/>
                <a:moveTo>
                  <a:pt x="385215" y="106045"/>
                </a:moveTo>
                <a:lnTo>
                  <a:pt x="469160" y="189989"/>
                </a:lnTo>
                <a:lnTo>
                  <a:pt x="161419" y="497754"/>
                </a:lnTo>
                <a:cubicBezTo>
                  <a:pt x="156659" y="502514"/>
                  <a:pt x="150624" y="505798"/>
                  <a:pt x="144041" y="507209"/>
                </a:cubicBezTo>
                <a:lnTo>
                  <a:pt x="47288" y="527942"/>
                </a:lnTo>
                <a:lnTo>
                  <a:pt x="68022" y="431185"/>
                </a:lnTo>
                <a:cubicBezTo>
                  <a:pt x="69432" y="424604"/>
                  <a:pt x="72714" y="418570"/>
                  <a:pt x="77473" y="413811"/>
                </a:cubicBezTo>
                <a:lnTo>
                  <a:pt x="385215" y="106045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3600000" scaled="0"/>
          </a:gradFill>
          <a:ln w="2053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0" name="Graphic 139" descr="Device Meeting Room&#10;Keyword: fluent-icon;&#10;Metaphor: office, remote, touch screen, conference room;&#10;&#10;Used to represent meeting room devices in office.">
            <a:extLst>
              <a:ext uri="{FF2B5EF4-FFF2-40B4-BE49-F238E27FC236}">
                <a16:creationId xmlns:a16="http://schemas.microsoft.com/office/drawing/2014/main" id="{2034D082-2A30-58E4-0C0C-FB98AE55B690}"/>
              </a:ext>
            </a:extLst>
          </p:cNvPr>
          <p:cNvSpPr/>
          <p:nvPr/>
        </p:nvSpPr>
        <p:spPr>
          <a:xfrm>
            <a:off x="10018742" y="3179877"/>
            <a:ext cx="547878" cy="472545"/>
          </a:xfrm>
          <a:custGeom>
            <a:avLst/>
            <a:gdLst>
              <a:gd name="connsiteX0" fmla="*/ 146649 w 547878"/>
              <a:gd name="connsiteY0" fmla="*/ 0 h 472545"/>
              <a:gd name="connsiteX1" fmla="*/ 68082 w 547878"/>
              <a:gd name="connsiteY1" fmla="*/ 60302 h 472545"/>
              <a:gd name="connsiteX2" fmla="*/ 2943 w 547878"/>
              <a:gd name="connsiteY2" fmla="*/ 303689 h 472545"/>
              <a:gd name="connsiteX3" fmla="*/ 85249 w 547878"/>
              <a:gd name="connsiteY3" fmla="*/ 410909 h 472545"/>
              <a:gd name="connsiteX4" fmla="*/ 462631 w 547878"/>
              <a:gd name="connsiteY4" fmla="*/ 410909 h 472545"/>
              <a:gd name="connsiteX5" fmla="*/ 544936 w 547878"/>
              <a:gd name="connsiteY5" fmla="*/ 303689 h 472545"/>
              <a:gd name="connsiteX6" fmla="*/ 479797 w 547878"/>
              <a:gd name="connsiteY6" fmla="*/ 60302 h 472545"/>
              <a:gd name="connsiteX7" fmla="*/ 401230 w 547878"/>
              <a:gd name="connsiteY7" fmla="*/ 0 h 472545"/>
              <a:gd name="connsiteX8" fmla="*/ 146649 w 547878"/>
              <a:gd name="connsiteY8" fmla="*/ 0 h 472545"/>
              <a:gd name="connsiteX9" fmla="*/ 101163 w 547878"/>
              <a:gd name="connsiteY9" fmla="*/ 69153 h 472545"/>
              <a:gd name="connsiteX10" fmla="*/ 146649 w 547878"/>
              <a:gd name="connsiteY10" fmla="*/ 34242 h 472545"/>
              <a:gd name="connsiteX11" fmla="*/ 401230 w 547878"/>
              <a:gd name="connsiteY11" fmla="*/ 34242 h 472545"/>
              <a:gd name="connsiteX12" fmla="*/ 446716 w 547878"/>
              <a:gd name="connsiteY12" fmla="*/ 69153 h 472545"/>
              <a:gd name="connsiteX13" fmla="*/ 511855 w 547878"/>
              <a:gd name="connsiteY13" fmla="*/ 312542 h 472545"/>
              <a:gd name="connsiteX14" fmla="*/ 462631 w 547878"/>
              <a:gd name="connsiteY14" fmla="*/ 376667 h 472545"/>
              <a:gd name="connsiteX15" fmla="*/ 85249 w 547878"/>
              <a:gd name="connsiteY15" fmla="*/ 376667 h 472545"/>
              <a:gd name="connsiteX16" fmla="*/ 36024 w 547878"/>
              <a:gd name="connsiteY16" fmla="*/ 312542 h 472545"/>
              <a:gd name="connsiteX17" fmla="*/ 101163 w 547878"/>
              <a:gd name="connsiteY17" fmla="*/ 69153 h 472545"/>
              <a:gd name="connsiteX18" fmla="*/ 126679 w 547878"/>
              <a:gd name="connsiteY18" fmla="*/ 438303 h 472545"/>
              <a:gd name="connsiteX19" fmla="*/ 109558 w 547878"/>
              <a:gd name="connsiteY19" fmla="*/ 455425 h 472545"/>
              <a:gd name="connsiteX20" fmla="*/ 126679 w 547878"/>
              <a:gd name="connsiteY20" fmla="*/ 472546 h 472545"/>
              <a:gd name="connsiteX21" fmla="*/ 421188 w 547878"/>
              <a:gd name="connsiteY21" fmla="*/ 472546 h 472545"/>
              <a:gd name="connsiteX22" fmla="*/ 438310 w 547878"/>
              <a:gd name="connsiteY22" fmla="*/ 455425 h 472545"/>
              <a:gd name="connsiteX23" fmla="*/ 421188 w 547878"/>
              <a:gd name="connsiteY23" fmla="*/ 438303 h 472545"/>
              <a:gd name="connsiteX24" fmla="*/ 126679 w 547878"/>
              <a:gd name="connsiteY24" fmla="*/ 438303 h 4725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547878" h="472545">
                <a:moveTo>
                  <a:pt x="146649" y="0"/>
                </a:moveTo>
                <a:cubicBezTo>
                  <a:pt x="109828" y="0"/>
                  <a:pt x="77601" y="24735"/>
                  <a:pt x="68082" y="60302"/>
                </a:cubicBezTo>
                <a:lnTo>
                  <a:pt x="2943" y="303689"/>
                </a:lnTo>
                <a:cubicBezTo>
                  <a:pt x="-11537" y="357793"/>
                  <a:pt x="29237" y="410909"/>
                  <a:pt x="85249" y="410909"/>
                </a:cubicBezTo>
                <a:lnTo>
                  <a:pt x="462631" y="410909"/>
                </a:lnTo>
                <a:cubicBezTo>
                  <a:pt x="518642" y="410909"/>
                  <a:pt x="559416" y="357793"/>
                  <a:pt x="544936" y="303689"/>
                </a:cubicBezTo>
                <a:lnTo>
                  <a:pt x="479797" y="60302"/>
                </a:lnTo>
                <a:cubicBezTo>
                  <a:pt x="470279" y="24735"/>
                  <a:pt x="438051" y="0"/>
                  <a:pt x="401230" y="0"/>
                </a:cubicBezTo>
                <a:lnTo>
                  <a:pt x="146649" y="0"/>
                </a:lnTo>
                <a:close/>
                <a:moveTo>
                  <a:pt x="101163" y="69153"/>
                </a:moveTo>
                <a:cubicBezTo>
                  <a:pt x="106673" y="48563"/>
                  <a:pt x="125331" y="34242"/>
                  <a:pt x="146649" y="34242"/>
                </a:cubicBezTo>
                <a:lnTo>
                  <a:pt x="401230" y="34242"/>
                </a:lnTo>
                <a:cubicBezTo>
                  <a:pt x="422548" y="34242"/>
                  <a:pt x="441206" y="48563"/>
                  <a:pt x="446716" y="69153"/>
                </a:cubicBezTo>
                <a:lnTo>
                  <a:pt x="511855" y="312542"/>
                </a:lnTo>
                <a:cubicBezTo>
                  <a:pt x="520515" y="344900"/>
                  <a:pt x="496129" y="376667"/>
                  <a:pt x="462631" y="376667"/>
                </a:cubicBezTo>
                <a:lnTo>
                  <a:pt x="85249" y="376667"/>
                </a:lnTo>
                <a:cubicBezTo>
                  <a:pt x="51750" y="376667"/>
                  <a:pt x="27364" y="344900"/>
                  <a:pt x="36024" y="312542"/>
                </a:cubicBezTo>
                <a:lnTo>
                  <a:pt x="101163" y="69153"/>
                </a:lnTo>
                <a:close/>
                <a:moveTo>
                  <a:pt x="126679" y="438303"/>
                </a:moveTo>
                <a:cubicBezTo>
                  <a:pt x="117223" y="438303"/>
                  <a:pt x="109558" y="445968"/>
                  <a:pt x="109558" y="455425"/>
                </a:cubicBezTo>
                <a:cubicBezTo>
                  <a:pt x="109558" y="464881"/>
                  <a:pt x="117223" y="472546"/>
                  <a:pt x="126679" y="472546"/>
                </a:cubicBezTo>
                <a:lnTo>
                  <a:pt x="421188" y="472546"/>
                </a:lnTo>
                <a:cubicBezTo>
                  <a:pt x="430644" y="472546"/>
                  <a:pt x="438310" y="464881"/>
                  <a:pt x="438310" y="455425"/>
                </a:cubicBezTo>
                <a:cubicBezTo>
                  <a:pt x="438310" y="445968"/>
                  <a:pt x="430644" y="438303"/>
                  <a:pt x="421188" y="438303"/>
                </a:cubicBezTo>
                <a:lnTo>
                  <a:pt x="126679" y="438303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3600000" scaled="0"/>
          </a:gradFill>
          <a:ln w="1369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1" name="Graphic 34" descr="Device Meeting Room Remote&#10;Keyword: fluent-icon;&#10;Metaphor: office, remote, touch screen, conference room;&#10;&#10;Used to represent meeting room devices in office.">
            <a:extLst>
              <a:ext uri="{FF2B5EF4-FFF2-40B4-BE49-F238E27FC236}">
                <a16:creationId xmlns:a16="http://schemas.microsoft.com/office/drawing/2014/main" id="{853989F8-16CF-0BD5-7EE6-70810EC27DCC}"/>
              </a:ext>
            </a:extLst>
          </p:cNvPr>
          <p:cNvSpPr/>
          <p:nvPr/>
        </p:nvSpPr>
        <p:spPr>
          <a:xfrm>
            <a:off x="10958253" y="3179877"/>
            <a:ext cx="547879" cy="520485"/>
          </a:xfrm>
          <a:custGeom>
            <a:avLst/>
            <a:gdLst>
              <a:gd name="connsiteX0" fmla="*/ 146665 w 547879"/>
              <a:gd name="connsiteY0" fmla="*/ 0 h 520485"/>
              <a:gd name="connsiteX1" fmla="*/ 68100 w 547879"/>
              <a:gd name="connsiteY1" fmla="*/ 60302 h 520485"/>
              <a:gd name="connsiteX2" fmla="*/ 43821 w 547879"/>
              <a:gd name="connsiteY2" fmla="*/ 151023 h 520485"/>
              <a:gd name="connsiteX3" fmla="*/ 51360 w 547879"/>
              <a:gd name="connsiteY3" fmla="*/ 150667 h 520485"/>
              <a:gd name="connsiteX4" fmla="*/ 79365 w 547879"/>
              <a:gd name="connsiteY4" fmla="*/ 150667 h 520485"/>
              <a:gd name="connsiteX5" fmla="*/ 101180 w 547879"/>
              <a:gd name="connsiteY5" fmla="*/ 69153 h 520485"/>
              <a:gd name="connsiteX6" fmla="*/ 146665 w 547879"/>
              <a:gd name="connsiteY6" fmla="*/ 34242 h 520485"/>
              <a:gd name="connsiteX7" fmla="*/ 401235 w 547879"/>
              <a:gd name="connsiteY7" fmla="*/ 34242 h 520485"/>
              <a:gd name="connsiteX8" fmla="*/ 446720 w 547879"/>
              <a:gd name="connsiteY8" fmla="*/ 69153 h 520485"/>
              <a:gd name="connsiteX9" fmla="*/ 511856 w 547879"/>
              <a:gd name="connsiteY9" fmla="*/ 312542 h 520485"/>
              <a:gd name="connsiteX10" fmla="*/ 462633 w 547879"/>
              <a:gd name="connsiteY10" fmla="*/ 376667 h 520485"/>
              <a:gd name="connsiteX11" fmla="*/ 232851 w 547879"/>
              <a:gd name="connsiteY11" fmla="*/ 376667 h 520485"/>
              <a:gd name="connsiteX12" fmla="*/ 232851 w 547879"/>
              <a:gd name="connsiteY12" fmla="*/ 410909 h 520485"/>
              <a:gd name="connsiteX13" fmla="*/ 462633 w 547879"/>
              <a:gd name="connsiteY13" fmla="*/ 410909 h 520485"/>
              <a:gd name="connsiteX14" fmla="*/ 544936 w 547879"/>
              <a:gd name="connsiteY14" fmla="*/ 303689 h 520485"/>
              <a:gd name="connsiteX15" fmla="*/ 479800 w 547879"/>
              <a:gd name="connsiteY15" fmla="*/ 60302 h 520485"/>
              <a:gd name="connsiteX16" fmla="*/ 401235 w 547879"/>
              <a:gd name="connsiteY16" fmla="*/ 0 h 520485"/>
              <a:gd name="connsiteX17" fmla="*/ 146665 w 547879"/>
              <a:gd name="connsiteY17" fmla="*/ 0 h 520485"/>
              <a:gd name="connsiteX18" fmla="*/ 421199 w 547879"/>
              <a:gd name="connsiteY18" fmla="*/ 472546 h 520485"/>
              <a:gd name="connsiteX19" fmla="*/ 232779 w 547879"/>
              <a:gd name="connsiteY19" fmla="*/ 472546 h 520485"/>
              <a:gd name="connsiteX20" fmla="*/ 232851 w 547879"/>
              <a:gd name="connsiteY20" fmla="*/ 469122 h 520485"/>
              <a:gd name="connsiteX21" fmla="*/ 232851 w 547879"/>
              <a:gd name="connsiteY21" fmla="*/ 438303 h 520485"/>
              <a:gd name="connsiteX22" fmla="*/ 421199 w 547879"/>
              <a:gd name="connsiteY22" fmla="*/ 438303 h 520485"/>
              <a:gd name="connsiteX23" fmla="*/ 438320 w 547879"/>
              <a:gd name="connsiteY23" fmla="*/ 455425 h 520485"/>
              <a:gd name="connsiteX24" fmla="*/ 421199 w 547879"/>
              <a:gd name="connsiteY24" fmla="*/ 472546 h 520485"/>
              <a:gd name="connsiteX25" fmla="*/ 102731 w 547879"/>
              <a:gd name="connsiteY25" fmla="*/ 315031 h 520485"/>
              <a:gd name="connsiteX26" fmla="*/ 136975 w 547879"/>
              <a:gd name="connsiteY26" fmla="*/ 280788 h 520485"/>
              <a:gd name="connsiteX27" fmla="*/ 102731 w 547879"/>
              <a:gd name="connsiteY27" fmla="*/ 246546 h 520485"/>
              <a:gd name="connsiteX28" fmla="*/ 68487 w 547879"/>
              <a:gd name="connsiteY28" fmla="*/ 280788 h 520485"/>
              <a:gd name="connsiteX29" fmla="*/ 102731 w 547879"/>
              <a:gd name="connsiteY29" fmla="*/ 315031 h 520485"/>
              <a:gd name="connsiteX30" fmla="*/ 0 w 547879"/>
              <a:gd name="connsiteY30" fmla="*/ 229424 h 520485"/>
              <a:gd name="connsiteX31" fmla="*/ 51366 w 547879"/>
              <a:gd name="connsiteY31" fmla="*/ 178061 h 520485"/>
              <a:gd name="connsiteX32" fmla="*/ 154096 w 547879"/>
              <a:gd name="connsiteY32" fmla="*/ 178061 h 520485"/>
              <a:gd name="connsiteX33" fmla="*/ 205463 w 547879"/>
              <a:gd name="connsiteY33" fmla="*/ 229424 h 520485"/>
              <a:gd name="connsiteX34" fmla="*/ 205463 w 547879"/>
              <a:gd name="connsiteY34" fmla="*/ 469122 h 520485"/>
              <a:gd name="connsiteX35" fmla="*/ 154096 w 547879"/>
              <a:gd name="connsiteY35" fmla="*/ 520485 h 520485"/>
              <a:gd name="connsiteX36" fmla="*/ 51366 w 547879"/>
              <a:gd name="connsiteY36" fmla="*/ 520485 h 520485"/>
              <a:gd name="connsiteX37" fmla="*/ 0 w 547879"/>
              <a:gd name="connsiteY37" fmla="*/ 469122 h 520485"/>
              <a:gd name="connsiteX38" fmla="*/ 0 w 547879"/>
              <a:gd name="connsiteY38" fmla="*/ 229424 h 520485"/>
              <a:gd name="connsiteX39" fmla="*/ 51366 w 547879"/>
              <a:gd name="connsiteY39" fmla="*/ 212303 h 520485"/>
              <a:gd name="connsiteX40" fmla="*/ 34244 w 547879"/>
              <a:gd name="connsiteY40" fmla="*/ 229424 h 520485"/>
              <a:gd name="connsiteX41" fmla="*/ 34244 w 547879"/>
              <a:gd name="connsiteY41" fmla="*/ 469122 h 520485"/>
              <a:gd name="connsiteX42" fmla="*/ 51366 w 547879"/>
              <a:gd name="connsiteY42" fmla="*/ 486243 h 520485"/>
              <a:gd name="connsiteX43" fmla="*/ 154096 w 547879"/>
              <a:gd name="connsiteY43" fmla="*/ 486243 h 520485"/>
              <a:gd name="connsiteX44" fmla="*/ 171219 w 547879"/>
              <a:gd name="connsiteY44" fmla="*/ 469122 h 520485"/>
              <a:gd name="connsiteX45" fmla="*/ 171219 w 547879"/>
              <a:gd name="connsiteY45" fmla="*/ 229424 h 520485"/>
              <a:gd name="connsiteX46" fmla="*/ 154096 w 547879"/>
              <a:gd name="connsiteY46" fmla="*/ 212303 h 520485"/>
              <a:gd name="connsiteX47" fmla="*/ 51366 w 547879"/>
              <a:gd name="connsiteY47" fmla="*/ 212303 h 520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547879" h="520485">
                <a:moveTo>
                  <a:pt x="146665" y="0"/>
                </a:moveTo>
                <a:cubicBezTo>
                  <a:pt x="109846" y="0"/>
                  <a:pt x="77619" y="24735"/>
                  <a:pt x="68100" y="60302"/>
                </a:cubicBezTo>
                <a:lnTo>
                  <a:pt x="43821" y="151023"/>
                </a:lnTo>
                <a:cubicBezTo>
                  <a:pt x="46302" y="150787"/>
                  <a:pt x="48817" y="150667"/>
                  <a:pt x="51360" y="150667"/>
                </a:cubicBezTo>
                <a:lnTo>
                  <a:pt x="79365" y="150667"/>
                </a:lnTo>
                <a:lnTo>
                  <a:pt x="101180" y="69153"/>
                </a:lnTo>
                <a:cubicBezTo>
                  <a:pt x="106691" y="48563"/>
                  <a:pt x="125348" y="34242"/>
                  <a:pt x="146665" y="34242"/>
                </a:cubicBezTo>
                <a:lnTo>
                  <a:pt x="401235" y="34242"/>
                </a:lnTo>
                <a:cubicBezTo>
                  <a:pt x="422552" y="34242"/>
                  <a:pt x="441210" y="48563"/>
                  <a:pt x="446720" y="69153"/>
                </a:cubicBezTo>
                <a:lnTo>
                  <a:pt x="511856" y="312542"/>
                </a:lnTo>
                <a:cubicBezTo>
                  <a:pt x="520517" y="344900"/>
                  <a:pt x="496132" y="376667"/>
                  <a:pt x="462633" y="376667"/>
                </a:cubicBezTo>
                <a:lnTo>
                  <a:pt x="232851" y="376667"/>
                </a:lnTo>
                <a:lnTo>
                  <a:pt x="232851" y="410909"/>
                </a:lnTo>
                <a:lnTo>
                  <a:pt x="462633" y="410909"/>
                </a:lnTo>
                <a:cubicBezTo>
                  <a:pt x="518643" y="410909"/>
                  <a:pt x="559416" y="357793"/>
                  <a:pt x="544936" y="303689"/>
                </a:cubicBezTo>
                <a:lnTo>
                  <a:pt x="479800" y="60302"/>
                </a:lnTo>
                <a:cubicBezTo>
                  <a:pt x="470282" y="24735"/>
                  <a:pt x="438055" y="0"/>
                  <a:pt x="401235" y="0"/>
                </a:cubicBezTo>
                <a:lnTo>
                  <a:pt x="146665" y="0"/>
                </a:lnTo>
                <a:close/>
                <a:moveTo>
                  <a:pt x="421199" y="472546"/>
                </a:moveTo>
                <a:lnTo>
                  <a:pt x="232779" y="472546"/>
                </a:lnTo>
                <a:cubicBezTo>
                  <a:pt x="232827" y="471410"/>
                  <a:pt x="232851" y="470269"/>
                  <a:pt x="232851" y="469122"/>
                </a:cubicBezTo>
                <a:lnTo>
                  <a:pt x="232851" y="438303"/>
                </a:lnTo>
                <a:lnTo>
                  <a:pt x="421199" y="438303"/>
                </a:lnTo>
                <a:cubicBezTo>
                  <a:pt x="430654" y="438303"/>
                  <a:pt x="438320" y="445968"/>
                  <a:pt x="438320" y="455425"/>
                </a:cubicBezTo>
                <a:cubicBezTo>
                  <a:pt x="438320" y="464881"/>
                  <a:pt x="430654" y="472546"/>
                  <a:pt x="421199" y="472546"/>
                </a:cubicBezTo>
                <a:close/>
                <a:moveTo>
                  <a:pt x="102731" y="315031"/>
                </a:moveTo>
                <a:cubicBezTo>
                  <a:pt x="121643" y="315031"/>
                  <a:pt x="136975" y="299699"/>
                  <a:pt x="136975" y="280788"/>
                </a:cubicBezTo>
                <a:cubicBezTo>
                  <a:pt x="136975" y="261877"/>
                  <a:pt x="121643" y="246546"/>
                  <a:pt x="102731" y="246546"/>
                </a:cubicBezTo>
                <a:cubicBezTo>
                  <a:pt x="83819" y="246546"/>
                  <a:pt x="68487" y="261877"/>
                  <a:pt x="68487" y="280788"/>
                </a:cubicBezTo>
                <a:cubicBezTo>
                  <a:pt x="68487" y="299699"/>
                  <a:pt x="83819" y="315031"/>
                  <a:pt x="102731" y="315031"/>
                </a:cubicBezTo>
                <a:close/>
                <a:moveTo>
                  <a:pt x="0" y="229424"/>
                </a:moveTo>
                <a:cubicBezTo>
                  <a:pt x="0" y="201057"/>
                  <a:pt x="22997" y="178061"/>
                  <a:pt x="51366" y="178061"/>
                </a:cubicBezTo>
                <a:lnTo>
                  <a:pt x="154096" y="178061"/>
                </a:lnTo>
                <a:cubicBezTo>
                  <a:pt x="182466" y="178061"/>
                  <a:pt x="205463" y="201057"/>
                  <a:pt x="205463" y="229424"/>
                </a:cubicBezTo>
                <a:lnTo>
                  <a:pt x="205463" y="469122"/>
                </a:lnTo>
                <a:cubicBezTo>
                  <a:pt x="205463" y="497489"/>
                  <a:pt x="182466" y="520485"/>
                  <a:pt x="154096" y="520485"/>
                </a:cubicBezTo>
                <a:lnTo>
                  <a:pt x="51366" y="520485"/>
                </a:lnTo>
                <a:cubicBezTo>
                  <a:pt x="22997" y="520485"/>
                  <a:pt x="0" y="497489"/>
                  <a:pt x="0" y="469122"/>
                </a:cubicBezTo>
                <a:lnTo>
                  <a:pt x="0" y="229424"/>
                </a:lnTo>
                <a:close/>
                <a:moveTo>
                  <a:pt x="51366" y="212303"/>
                </a:moveTo>
                <a:cubicBezTo>
                  <a:pt x="41909" y="212303"/>
                  <a:pt x="34244" y="219968"/>
                  <a:pt x="34244" y="229424"/>
                </a:cubicBezTo>
                <a:lnTo>
                  <a:pt x="34244" y="469122"/>
                </a:lnTo>
                <a:cubicBezTo>
                  <a:pt x="34244" y="478578"/>
                  <a:pt x="41909" y="486243"/>
                  <a:pt x="51366" y="486243"/>
                </a:cubicBezTo>
                <a:lnTo>
                  <a:pt x="154096" y="486243"/>
                </a:lnTo>
                <a:cubicBezTo>
                  <a:pt x="163553" y="486243"/>
                  <a:pt x="171219" y="478578"/>
                  <a:pt x="171219" y="469122"/>
                </a:cubicBezTo>
                <a:lnTo>
                  <a:pt x="171219" y="229424"/>
                </a:lnTo>
                <a:cubicBezTo>
                  <a:pt x="171219" y="219968"/>
                  <a:pt x="163553" y="212303"/>
                  <a:pt x="154096" y="212303"/>
                </a:cubicBezTo>
                <a:lnTo>
                  <a:pt x="51366" y="212303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3600000" scaled="0"/>
          </a:gradFill>
          <a:ln w="1369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2" name="Graphic 35" descr="Dial Pad&#10;Keyword: fluent-icon, teams;&#10;Metaphor: call, dial, number;&#10;&#10;Used to represent the interface to make a number call.">
            <a:extLst>
              <a:ext uri="{FF2B5EF4-FFF2-40B4-BE49-F238E27FC236}">
                <a16:creationId xmlns:a16="http://schemas.microsoft.com/office/drawing/2014/main" id="{D71F2447-DE61-1664-5487-F16C87AE541D}"/>
              </a:ext>
            </a:extLst>
          </p:cNvPr>
          <p:cNvSpPr/>
          <p:nvPr/>
        </p:nvSpPr>
        <p:spPr>
          <a:xfrm>
            <a:off x="787954" y="4390307"/>
            <a:ext cx="356121" cy="479394"/>
          </a:xfrm>
          <a:custGeom>
            <a:avLst/>
            <a:gdLst>
              <a:gd name="connsiteX0" fmla="*/ 68485 w 356121"/>
              <a:gd name="connsiteY0" fmla="*/ 34242 h 479394"/>
              <a:gd name="connsiteX1" fmla="*/ 34242 w 356121"/>
              <a:gd name="connsiteY1" fmla="*/ 68485 h 479394"/>
              <a:gd name="connsiteX2" fmla="*/ 0 w 356121"/>
              <a:gd name="connsiteY2" fmla="*/ 34242 h 479394"/>
              <a:gd name="connsiteX3" fmla="*/ 34242 w 356121"/>
              <a:gd name="connsiteY3" fmla="*/ 0 h 479394"/>
              <a:gd name="connsiteX4" fmla="*/ 68485 w 356121"/>
              <a:gd name="connsiteY4" fmla="*/ 34242 h 479394"/>
              <a:gd name="connsiteX5" fmla="*/ 68485 w 356121"/>
              <a:gd name="connsiteY5" fmla="*/ 171212 h 479394"/>
              <a:gd name="connsiteX6" fmla="*/ 34242 w 356121"/>
              <a:gd name="connsiteY6" fmla="*/ 205455 h 479394"/>
              <a:gd name="connsiteX7" fmla="*/ 0 w 356121"/>
              <a:gd name="connsiteY7" fmla="*/ 171212 h 479394"/>
              <a:gd name="connsiteX8" fmla="*/ 34242 w 356121"/>
              <a:gd name="connsiteY8" fmla="*/ 136970 h 479394"/>
              <a:gd name="connsiteX9" fmla="*/ 68485 w 356121"/>
              <a:gd name="connsiteY9" fmla="*/ 171212 h 479394"/>
              <a:gd name="connsiteX10" fmla="*/ 68485 w 356121"/>
              <a:gd name="connsiteY10" fmla="*/ 308182 h 479394"/>
              <a:gd name="connsiteX11" fmla="*/ 34242 w 356121"/>
              <a:gd name="connsiteY11" fmla="*/ 342424 h 479394"/>
              <a:gd name="connsiteX12" fmla="*/ 0 w 356121"/>
              <a:gd name="connsiteY12" fmla="*/ 308182 h 479394"/>
              <a:gd name="connsiteX13" fmla="*/ 34242 w 356121"/>
              <a:gd name="connsiteY13" fmla="*/ 273940 h 479394"/>
              <a:gd name="connsiteX14" fmla="*/ 68485 w 356121"/>
              <a:gd name="connsiteY14" fmla="*/ 308182 h 479394"/>
              <a:gd name="connsiteX15" fmla="*/ 212303 w 356121"/>
              <a:gd name="connsiteY15" fmla="*/ 34242 h 479394"/>
              <a:gd name="connsiteX16" fmla="*/ 178061 w 356121"/>
              <a:gd name="connsiteY16" fmla="*/ 68485 h 479394"/>
              <a:gd name="connsiteX17" fmla="*/ 143818 w 356121"/>
              <a:gd name="connsiteY17" fmla="*/ 34242 h 479394"/>
              <a:gd name="connsiteX18" fmla="*/ 178061 w 356121"/>
              <a:gd name="connsiteY18" fmla="*/ 0 h 479394"/>
              <a:gd name="connsiteX19" fmla="*/ 212303 w 356121"/>
              <a:gd name="connsiteY19" fmla="*/ 34242 h 479394"/>
              <a:gd name="connsiteX20" fmla="*/ 212303 w 356121"/>
              <a:gd name="connsiteY20" fmla="*/ 171212 h 479394"/>
              <a:gd name="connsiteX21" fmla="*/ 178061 w 356121"/>
              <a:gd name="connsiteY21" fmla="*/ 205455 h 479394"/>
              <a:gd name="connsiteX22" fmla="*/ 143818 w 356121"/>
              <a:gd name="connsiteY22" fmla="*/ 171212 h 479394"/>
              <a:gd name="connsiteX23" fmla="*/ 178061 w 356121"/>
              <a:gd name="connsiteY23" fmla="*/ 136970 h 479394"/>
              <a:gd name="connsiteX24" fmla="*/ 212303 w 356121"/>
              <a:gd name="connsiteY24" fmla="*/ 171212 h 479394"/>
              <a:gd name="connsiteX25" fmla="*/ 212303 w 356121"/>
              <a:gd name="connsiteY25" fmla="*/ 308182 h 479394"/>
              <a:gd name="connsiteX26" fmla="*/ 178061 w 356121"/>
              <a:gd name="connsiteY26" fmla="*/ 342424 h 479394"/>
              <a:gd name="connsiteX27" fmla="*/ 143818 w 356121"/>
              <a:gd name="connsiteY27" fmla="*/ 308182 h 479394"/>
              <a:gd name="connsiteX28" fmla="*/ 178061 w 356121"/>
              <a:gd name="connsiteY28" fmla="*/ 273940 h 479394"/>
              <a:gd name="connsiteX29" fmla="*/ 212303 w 356121"/>
              <a:gd name="connsiteY29" fmla="*/ 308182 h 479394"/>
              <a:gd name="connsiteX30" fmla="*/ 212303 w 356121"/>
              <a:gd name="connsiteY30" fmla="*/ 445152 h 479394"/>
              <a:gd name="connsiteX31" fmla="*/ 178061 w 356121"/>
              <a:gd name="connsiteY31" fmla="*/ 479394 h 479394"/>
              <a:gd name="connsiteX32" fmla="*/ 143818 w 356121"/>
              <a:gd name="connsiteY32" fmla="*/ 445152 h 479394"/>
              <a:gd name="connsiteX33" fmla="*/ 178061 w 356121"/>
              <a:gd name="connsiteY33" fmla="*/ 410909 h 479394"/>
              <a:gd name="connsiteX34" fmla="*/ 212303 w 356121"/>
              <a:gd name="connsiteY34" fmla="*/ 445152 h 479394"/>
              <a:gd name="connsiteX35" fmla="*/ 356121 w 356121"/>
              <a:gd name="connsiteY35" fmla="*/ 34242 h 479394"/>
              <a:gd name="connsiteX36" fmla="*/ 321879 w 356121"/>
              <a:gd name="connsiteY36" fmla="*/ 68485 h 479394"/>
              <a:gd name="connsiteX37" fmla="*/ 287637 w 356121"/>
              <a:gd name="connsiteY37" fmla="*/ 34242 h 479394"/>
              <a:gd name="connsiteX38" fmla="*/ 321879 w 356121"/>
              <a:gd name="connsiteY38" fmla="*/ 0 h 479394"/>
              <a:gd name="connsiteX39" fmla="*/ 356121 w 356121"/>
              <a:gd name="connsiteY39" fmla="*/ 34242 h 479394"/>
              <a:gd name="connsiteX40" fmla="*/ 356121 w 356121"/>
              <a:gd name="connsiteY40" fmla="*/ 171212 h 479394"/>
              <a:gd name="connsiteX41" fmla="*/ 321879 w 356121"/>
              <a:gd name="connsiteY41" fmla="*/ 205455 h 479394"/>
              <a:gd name="connsiteX42" fmla="*/ 287637 w 356121"/>
              <a:gd name="connsiteY42" fmla="*/ 171212 h 479394"/>
              <a:gd name="connsiteX43" fmla="*/ 321879 w 356121"/>
              <a:gd name="connsiteY43" fmla="*/ 136970 h 479394"/>
              <a:gd name="connsiteX44" fmla="*/ 356121 w 356121"/>
              <a:gd name="connsiteY44" fmla="*/ 171212 h 479394"/>
              <a:gd name="connsiteX45" fmla="*/ 356121 w 356121"/>
              <a:gd name="connsiteY45" fmla="*/ 308182 h 479394"/>
              <a:gd name="connsiteX46" fmla="*/ 321879 w 356121"/>
              <a:gd name="connsiteY46" fmla="*/ 342424 h 479394"/>
              <a:gd name="connsiteX47" fmla="*/ 287637 w 356121"/>
              <a:gd name="connsiteY47" fmla="*/ 308182 h 479394"/>
              <a:gd name="connsiteX48" fmla="*/ 321879 w 356121"/>
              <a:gd name="connsiteY48" fmla="*/ 273940 h 479394"/>
              <a:gd name="connsiteX49" fmla="*/ 356121 w 356121"/>
              <a:gd name="connsiteY49" fmla="*/ 308182 h 479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356121" h="479394">
                <a:moveTo>
                  <a:pt x="68485" y="34242"/>
                </a:moveTo>
                <a:cubicBezTo>
                  <a:pt x="68485" y="53154"/>
                  <a:pt x="53154" y="68485"/>
                  <a:pt x="34242" y="68485"/>
                </a:cubicBezTo>
                <a:cubicBezTo>
                  <a:pt x="15331" y="68485"/>
                  <a:pt x="0" y="53154"/>
                  <a:pt x="0" y="34242"/>
                </a:cubicBezTo>
                <a:cubicBezTo>
                  <a:pt x="0" y="15331"/>
                  <a:pt x="15331" y="0"/>
                  <a:pt x="34242" y="0"/>
                </a:cubicBezTo>
                <a:cubicBezTo>
                  <a:pt x="53154" y="0"/>
                  <a:pt x="68485" y="15331"/>
                  <a:pt x="68485" y="34242"/>
                </a:cubicBezTo>
                <a:close/>
                <a:moveTo>
                  <a:pt x="68485" y="171212"/>
                </a:moveTo>
                <a:cubicBezTo>
                  <a:pt x="68485" y="190124"/>
                  <a:pt x="53154" y="205455"/>
                  <a:pt x="34242" y="205455"/>
                </a:cubicBezTo>
                <a:cubicBezTo>
                  <a:pt x="15331" y="205455"/>
                  <a:pt x="0" y="190124"/>
                  <a:pt x="0" y="171212"/>
                </a:cubicBezTo>
                <a:cubicBezTo>
                  <a:pt x="0" y="152301"/>
                  <a:pt x="15331" y="136970"/>
                  <a:pt x="34242" y="136970"/>
                </a:cubicBezTo>
                <a:cubicBezTo>
                  <a:pt x="53154" y="136970"/>
                  <a:pt x="68485" y="152301"/>
                  <a:pt x="68485" y="171212"/>
                </a:cubicBezTo>
                <a:close/>
                <a:moveTo>
                  <a:pt x="68485" y="308182"/>
                </a:moveTo>
                <a:cubicBezTo>
                  <a:pt x="68485" y="327093"/>
                  <a:pt x="53154" y="342424"/>
                  <a:pt x="34242" y="342424"/>
                </a:cubicBezTo>
                <a:cubicBezTo>
                  <a:pt x="15331" y="342424"/>
                  <a:pt x="0" y="327093"/>
                  <a:pt x="0" y="308182"/>
                </a:cubicBezTo>
                <a:cubicBezTo>
                  <a:pt x="0" y="289271"/>
                  <a:pt x="15331" y="273940"/>
                  <a:pt x="34242" y="273940"/>
                </a:cubicBezTo>
                <a:cubicBezTo>
                  <a:pt x="53154" y="273940"/>
                  <a:pt x="68485" y="289271"/>
                  <a:pt x="68485" y="308182"/>
                </a:cubicBezTo>
                <a:close/>
                <a:moveTo>
                  <a:pt x="212303" y="34242"/>
                </a:moveTo>
                <a:cubicBezTo>
                  <a:pt x="212303" y="53154"/>
                  <a:pt x="196972" y="68485"/>
                  <a:pt x="178061" y="68485"/>
                </a:cubicBezTo>
                <a:cubicBezTo>
                  <a:pt x="159149" y="68485"/>
                  <a:pt x="143818" y="53154"/>
                  <a:pt x="143818" y="34242"/>
                </a:cubicBezTo>
                <a:cubicBezTo>
                  <a:pt x="143818" y="15331"/>
                  <a:pt x="159149" y="0"/>
                  <a:pt x="178061" y="0"/>
                </a:cubicBezTo>
                <a:cubicBezTo>
                  <a:pt x="196972" y="0"/>
                  <a:pt x="212303" y="15331"/>
                  <a:pt x="212303" y="34242"/>
                </a:cubicBezTo>
                <a:close/>
                <a:moveTo>
                  <a:pt x="212303" y="171212"/>
                </a:moveTo>
                <a:cubicBezTo>
                  <a:pt x="212303" y="190124"/>
                  <a:pt x="196972" y="205455"/>
                  <a:pt x="178061" y="205455"/>
                </a:cubicBezTo>
                <a:cubicBezTo>
                  <a:pt x="159149" y="205455"/>
                  <a:pt x="143818" y="190124"/>
                  <a:pt x="143818" y="171212"/>
                </a:cubicBezTo>
                <a:cubicBezTo>
                  <a:pt x="143818" y="152301"/>
                  <a:pt x="159149" y="136970"/>
                  <a:pt x="178061" y="136970"/>
                </a:cubicBezTo>
                <a:cubicBezTo>
                  <a:pt x="196972" y="136970"/>
                  <a:pt x="212303" y="152301"/>
                  <a:pt x="212303" y="171212"/>
                </a:cubicBezTo>
                <a:close/>
                <a:moveTo>
                  <a:pt x="212303" y="308182"/>
                </a:moveTo>
                <a:cubicBezTo>
                  <a:pt x="212303" y="327093"/>
                  <a:pt x="196972" y="342424"/>
                  <a:pt x="178061" y="342424"/>
                </a:cubicBezTo>
                <a:cubicBezTo>
                  <a:pt x="159149" y="342424"/>
                  <a:pt x="143818" y="327093"/>
                  <a:pt x="143818" y="308182"/>
                </a:cubicBezTo>
                <a:cubicBezTo>
                  <a:pt x="143818" y="289271"/>
                  <a:pt x="159149" y="273940"/>
                  <a:pt x="178061" y="273940"/>
                </a:cubicBezTo>
                <a:cubicBezTo>
                  <a:pt x="196972" y="273940"/>
                  <a:pt x="212303" y="289271"/>
                  <a:pt x="212303" y="308182"/>
                </a:cubicBezTo>
                <a:close/>
                <a:moveTo>
                  <a:pt x="212303" y="445152"/>
                </a:moveTo>
                <a:cubicBezTo>
                  <a:pt x="212303" y="464063"/>
                  <a:pt x="196972" y="479394"/>
                  <a:pt x="178061" y="479394"/>
                </a:cubicBezTo>
                <a:cubicBezTo>
                  <a:pt x="159149" y="479394"/>
                  <a:pt x="143818" y="464063"/>
                  <a:pt x="143818" y="445152"/>
                </a:cubicBezTo>
                <a:cubicBezTo>
                  <a:pt x="143818" y="426240"/>
                  <a:pt x="159149" y="410909"/>
                  <a:pt x="178061" y="410909"/>
                </a:cubicBezTo>
                <a:cubicBezTo>
                  <a:pt x="196972" y="410909"/>
                  <a:pt x="212303" y="426240"/>
                  <a:pt x="212303" y="445152"/>
                </a:cubicBezTo>
                <a:close/>
                <a:moveTo>
                  <a:pt x="356121" y="34242"/>
                </a:moveTo>
                <a:cubicBezTo>
                  <a:pt x="356121" y="53154"/>
                  <a:pt x="340790" y="68485"/>
                  <a:pt x="321879" y="68485"/>
                </a:cubicBezTo>
                <a:cubicBezTo>
                  <a:pt x="302968" y="68485"/>
                  <a:pt x="287637" y="53154"/>
                  <a:pt x="287637" y="34242"/>
                </a:cubicBezTo>
                <a:cubicBezTo>
                  <a:pt x="287637" y="15331"/>
                  <a:pt x="302968" y="0"/>
                  <a:pt x="321879" y="0"/>
                </a:cubicBezTo>
                <a:cubicBezTo>
                  <a:pt x="340790" y="0"/>
                  <a:pt x="356121" y="15331"/>
                  <a:pt x="356121" y="34242"/>
                </a:cubicBezTo>
                <a:close/>
                <a:moveTo>
                  <a:pt x="356121" y="171212"/>
                </a:moveTo>
                <a:cubicBezTo>
                  <a:pt x="356121" y="190124"/>
                  <a:pt x="340790" y="205455"/>
                  <a:pt x="321879" y="205455"/>
                </a:cubicBezTo>
                <a:cubicBezTo>
                  <a:pt x="302968" y="205455"/>
                  <a:pt x="287637" y="190124"/>
                  <a:pt x="287637" y="171212"/>
                </a:cubicBezTo>
                <a:cubicBezTo>
                  <a:pt x="287637" y="152301"/>
                  <a:pt x="302968" y="136970"/>
                  <a:pt x="321879" y="136970"/>
                </a:cubicBezTo>
                <a:cubicBezTo>
                  <a:pt x="340790" y="136970"/>
                  <a:pt x="356121" y="152301"/>
                  <a:pt x="356121" y="171212"/>
                </a:cubicBezTo>
                <a:close/>
                <a:moveTo>
                  <a:pt x="356121" y="308182"/>
                </a:moveTo>
                <a:cubicBezTo>
                  <a:pt x="356121" y="327093"/>
                  <a:pt x="340790" y="342424"/>
                  <a:pt x="321879" y="342424"/>
                </a:cubicBezTo>
                <a:cubicBezTo>
                  <a:pt x="302968" y="342424"/>
                  <a:pt x="287637" y="327093"/>
                  <a:pt x="287637" y="308182"/>
                </a:cubicBezTo>
                <a:cubicBezTo>
                  <a:pt x="287637" y="289271"/>
                  <a:pt x="302968" y="273940"/>
                  <a:pt x="321879" y="273940"/>
                </a:cubicBezTo>
                <a:cubicBezTo>
                  <a:pt x="340790" y="273940"/>
                  <a:pt x="356121" y="289271"/>
                  <a:pt x="356121" y="308182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3600000" scaled="0"/>
          </a:gradFill>
          <a:ln w="1369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3" name="Graphic 36" descr="Dismiss Circle&#10;Keyword: fluent-icon;&#10;Metaphor: x, close, cancel, remove;&#10;&#10;Used in scenarios where UI is closed, dismissed, or removed.">
            <a:extLst>
              <a:ext uri="{FF2B5EF4-FFF2-40B4-BE49-F238E27FC236}">
                <a16:creationId xmlns:a16="http://schemas.microsoft.com/office/drawing/2014/main" id="{22AF8544-9772-9F86-C29D-1951744E9C04}"/>
              </a:ext>
            </a:extLst>
          </p:cNvPr>
          <p:cNvSpPr/>
          <p:nvPr/>
        </p:nvSpPr>
        <p:spPr>
          <a:xfrm>
            <a:off x="1630201" y="4362913"/>
            <a:ext cx="547879" cy="547879"/>
          </a:xfrm>
          <a:custGeom>
            <a:avLst/>
            <a:gdLst>
              <a:gd name="connsiteX0" fmla="*/ 273940 w 547879"/>
              <a:gd name="connsiteY0" fmla="*/ 0 h 547879"/>
              <a:gd name="connsiteX1" fmla="*/ 547879 w 547879"/>
              <a:gd name="connsiteY1" fmla="*/ 273940 h 547879"/>
              <a:gd name="connsiteX2" fmla="*/ 273940 w 547879"/>
              <a:gd name="connsiteY2" fmla="*/ 547879 h 547879"/>
              <a:gd name="connsiteX3" fmla="*/ 0 w 547879"/>
              <a:gd name="connsiteY3" fmla="*/ 273940 h 547879"/>
              <a:gd name="connsiteX4" fmla="*/ 273940 w 547879"/>
              <a:gd name="connsiteY4" fmla="*/ 0 h 547879"/>
              <a:gd name="connsiteX5" fmla="*/ 273940 w 547879"/>
              <a:gd name="connsiteY5" fmla="*/ 34242 h 547879"/>
              <a:gd name="connsiteX6" fmla="*/ 34242 w 547879"/>
              <a:gd name="connsiteY6" fmla="*/ 273940 h 547879"/>
              <a:gd name="connsiteX7" fmla="*/ 273940 w 547879"/>
              <a:gd name="connsiteY7" fmla="*/ 513637 h 547879"/>
              <a:gd name="connsiteX8" fmla="*/ 513637 w 547879"/>
              <a:gd name="connsiteY8" fmla="*/ 273940 h 547879"/>
              <a:gd name="connsiteX9" fmla="*/ 273940 w 547879"/>
              <a:gd name="connsiteY9" fmla="*/ 34242 h 547879"/>
              <a:gd name="connsiteX10" fmla="*/ 188777 w 547879"/>
              <a:gd name="connsiteY10" fmla="*/ 164706 h 547879"/>
              <a:gd name="connsiteX11" fmla="*/ 190167 w 547879"/>
              <a:gd name="connsiteY11" fmla="*/ 165954 h 547879"/>
              <a:gd name="connsiteX12" fmla="*/ 273940 w 547879"/>
              <a:gd name="connsiteY12" fmla="*/ 249737 h 547879"/>
              <a:gd name="connsiteX13" fmla="*/ 357712 w 547879"/>
              <a:gd name="connsiteY13" fmla="*/ 165954 h 547879"/>
              <a:gd name="connsiteX14" fmla="*/ 380535 w 547879"/>
              <a:gd name="connsiteY14" fmla="*/ 164706 h 547879"/>
              <a:gd name="connsiteX15" fmla="*/ 381925 w 547879"/>
              <a:gd name="connsiteY15" fmla="*/ 165954 h 547879"/>
              <a:gd name="connsiteX16" fmla="*/ 383173 w 547879"/>
              <a:gd name="connsiteY16" fmla="*/ 188777 h 547879"/>
              <a:gd name="connsiteX17" fmla="*/ 381925 w 547879"/>
              <a:gd name="connsiteY17" fmla="*/ 190167 h 547879"/>
              <a:gd name="connsiteX18" fmla="*/ 298142 w 547879"/>
              <a:gd name="connsiteY18" fmla="*/ 273940 h 547879"/>
              <a:gd name="connsiteX19" fmla="*/ 381925 w 547879"/>
              <a:gd name="connsiteY19" fmla="*/ 357712 h 547879"/>
              <a:gd name="connsiteX20" fmla="*/ 383173 w 547879"/>
              <a:gd name="connsiteY20" fmla="*/ 380535 h 547879"/>
              <a:gd name="connsiteX21" fmla="*/ 381925 w 547879"/>
              <a:gd name="connsiteY21" fmla="*/ 381925 h 547879"/>
              <a:gd name="connsiteX22" fmla="*/ 359102 w 547879"/>
              <a:gd name="connsiteY22" fmla="*/ 383173 h 547879"/>
              <a:gd name="connsiteX23" fmla="*/ 357712 w 547879"/>
              <a:gd name="connsiteY23" fmla="*/ 381925 h 547879"/>
              <a:gd name="connsiteX24" fmla="*/ 273940 w 547879"/>
              <a:gd name="connsiteY24" fmla="*/ 298142 h 547879"/>
              <a:gd name="connsiteX25" fmla="*/ 190167 w 547879"/>
              <a:gd name="connsiteY25" fmla="*/ 381925 h 547879"/>
              <a:gd name="connsiteX26" fmla="*/ 167344 w 547879"/>
              <a:gd name="connsiteY26" fmla="*/ 383173 h 547879"/>
              <a:gd name="connsiteX27" fmla="*/ 165954 w 547879"/>
              <a:gd name="connsiteY27" fmla="*/ 381925 h 547879"/>
              <a:gd name="connsiteX28" fmla="*/ 164706 w 547879"/>
              <a:gd name="connsiteY28" fmla="*/ 359102 h 547879"/>
              <a:gd name="connsiteX29" fmla="*/ 165954 w 547879"/>
              <a:gd name="connsiteY29" fmla="*/ 357712 h 547879"/>
              <a:gd name="connsiteX30" fmla="*/ 249737 w 547879"/>
              <a:gd name="connsiteY30" fmla="*/ 273940 h 547879"/>
              <a:gd name="connsiteX31" fmla="*/ 165954 w 547879"/>
              <a:gd name="connsiteY31" fmla="*/ 190167 h 547879"/>
              <a:gd name="connsiteX32" fmla="*/ 164706 w 547879"/>
              <a:gd name="connsiteY32" fmla="*/ 167344 h 547879"/>
              <a:gd name="connsiteX33" fmla="*/ 165954 w 547879"/>
              <a:gd name="connsiteY33" fmla="*/ 165954 h 547879"/>
              <a:gd name="connsiteX34" fmla="*/ 188777 w 547879"/>
              <a:gd name="connsiteY34" fmla="*/ 164706 h 547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47879" h="547879">
                <a:moveTo>
                  <a:pt x="273940" y="0"/>
                </a:moveTo>
                <a:cubicBezTo>
                  <a:pt x="425232" y="0"/>
                  <a:pt x="547879" y="122647"/>
                  <a:pt x="547879" y="273940"/>
                </a:cubicBezTo>
                <a:cubicBezTo>
                  <a:pt x="547879" y="425232"/>
                  <a:pt x="425232" y="547879"/>
                  <a:pt x="273940" y="547879"/>
                </a:cubicBezTo>
                <a:cubicBezTo>
                  <a:pt x="122647" y="547879"/>
                  <a:pt x="0" y="425232"/>
                  <a:pt x="0" y="273940"/>
                </a:cubicBezTo>
                <a:cubicBezTo>
                  <a:pt x="0" y="122647"/>
                  <a:pt x="122647" y="0"/>
                  <a:pt x="273940" y="0"/>
                </a:cubicBezTo>
                <a:close/>
                <a:moveTo>
                  <a:pt x="273940" y="34242"/>
                </a:moveTo>
                <a:cubicBezTo>
                  <a:pt x="141558" y="34242"/>
                  <a:pt x="34242" y="141558"/>
                  <a:pt x="34242" y="273940"/>
                </a:cubicBezTo>
                <a:cubicBezTo>
                  <a:pt x="34242" y="406321"/>
                  <a:pt x="141558" y="513637"/>
                  <a:pt x="273940" y="513637"/>
                </a:cubicBezTo>
                <a:cubicBezTo>
                  <a:pt x="406321" y="513637"/>
                  <a:pt x="513637" y="406321"/>
                  <a:pt x="513637" y="273940"/>
                </a:cubicBezTo>
                <a:cubicBezTo>
                  <a:pt x="513637" y="141558"/>
                  <a:pt x="406321" y="34242"/>
                  <a:pt x="273940" y="34242"/>
                </a:cubicBezTo>
                <a:close/>
                <a:moveTo>
                  <a:pt x="188777" y="164706"/>
                </a:moveTo>
                <a:lnTo>
                  <a:pt x="190167" y="165954"/>
                </a:lnTo>
                <a:lnTo>
                  <a:pt x="273940" y="249737"/>
                </a:lnTo>
                <a:lnTo>
                  <a:pt x="357712" y="165954"/>
                </a:lnTo>
                <a:cubicBezTo>
                  <a:pt x="363952" y="159714"/>
                  <a:pt x="373811" y="159297"/>
                  <a:pt x="380535" y="164706"/>
                </a:cubicBezTo>
                <a:lnTo>
                  <a:pt x="381925" y="165954"/>
                </a:lnTo>
                <a:cubicBezTo>
                  <a:pt x="388166" y="172194"/>
                  <a:pt x="388582" y="182053"/>
                  <a:pt x="383173" y="188777"/>
                </a:cubicBezTo>
                <a:lnTo>
                  <a:pt x="381925" y="190167"/>
                </a:lnTo>
                <a:lnTo>
                  <a:pt x="298142" y="273940"/>
                </a:lnTo>
                <a:lnTo>
                  <a:pt x="381925" y="357712"/>
                </a:lnTo>
                <a:cubicBezTo>
                  <a:pt x="388166" y="363952"/>
                  <a:pt x="388582" y="373811"/>
                  <a:pt x="383173" y="380535"/>
                </a:cubicBezTo>
                <a:lnTo>
                  <a:pt x="381925" y="381925"/>
                </a:lnTo>
                <a:cubicBezTo>
                  <a:pt x="375685" y="388166"/>
                  <a:pt x="365826" y="388582"/>
                  <a:pt x="359102" y="383173"/>
                </a:cubicBezTo>
                <a:lnTo>
                  <a:pt x="357712" y="381925"/>
                </a:lnTo>
                <a:lnTo>
                  <a:pt x="273940" y="298142"/>
                </a:lnTo>
                <a:lnTo>
                  <a:pt x="190167" y="381925"/>
                </a:lnTo>
                <a:cubicBezTo>
                  <a:pt x="183927" y="388166"/>
                  <a:pt x="174068" y="388582"/>
                  <a:pt x="167344" y="383173"/>
                </a:cubicBezTo>
                <a:lnTo>
                  <a:pt x="165954" y="381925"/>
                </a:lnTo>
                <a:cubicBezTo>
                  <a:pt x="159714" y="375685"/>
                  <a:pt x="159297" y="365826"/>
                  <a:pt x="164706" y="359102"/>
                </a:cubicBezTo>
                <a:lnTo>
                  <a:pt x="165954" y="357712"/>
                </a:lnTo>
                <a:lnTo>
                  <a:pt x="249737" y="273940"/>
                </a:lnTo>
                <a:lnTo>
                  <a:pt x="165954" y="190167"/>
                </a:lnTo>
                <a:cubicBezTo>
                  <a:pt x="159714" y="183927"/>
                  <a:pt x="159297" y="174068"/>
                  <a:pt x="164706" y="167344"/>
                </a:cubicBezTo>
                <a:lnTo>
                  <a:pt x="165954" y="165954"/>
                </a:lnTo>
                <a:cubicBezTo>
                  <a:pt x="172194" y="159714"/>
                  <a:pt x="182053" y="159297"/>
                  <a:pt x="188777" y="164706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3600000" scaled="0"/>
          </a:gradFill>
          <a:ln w="1369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4" name="Graphic 37" descr="Document Ribbon&#10;Keyword: fluent-icon;&#10;Metaphor: paper, work, file, analog, horizontal;&#10;&#10;Used to represent general file types and actions.">
            <a:extLst>
              <a:ext uri="{FF2B5EF4-FFF2-40B4-BE49-F238E27FC236}">
                <a16:creationId xmlns:a16="http://schemas.microsoft.com/office/drawing/2014/main" id="{00F0A4FC-2A33-5EF8-5837-7E36091D7B71}"/>
              </a:ext>
            </a:extLst>
          </p:cNvPr>
          <p:cNvSpPr/>
          <p:nvPr/>
        </p:nvSpPr>
        <p:spPr>
          <a:xfrm>
            <a:off x="2557453" y="4362913"/>
            <a:ext cx="493091" cy="575269"/>
          </a:xfrm>
          <a:custGeom>
            <a:avLst/>
            <a:gdLst>
              <a:gd name="connsiteX0" fmla="*/ 113000 w 493091"/>
              <a:gd name="connsiteY0" fmla="*/ 0 h 575269"/>
              <a:gd name="connsiteX1" fmla="*/ 54788 w 493091"/>
              <a:gd name="connsiteY1" fmla="*/ 58212 h 575269"/>
              <a:gd name="connsiteX2" fmla="*/ 54788 w 493091"/>
              <a:gd name="connsiteY2" fmla="*/ 241964 h 575269"/>
              <a:gd name="connsiteX3" fmla="*/ 89030 w 493091"/>
              <a:gd name="connsiteY3" fmla="*/ 233561 h 575269"/>
              <a:gd name="connsiteX4" fmla="*/ 89030 w 493091"/>
              <a:gd name="connsiteY4" fmla="*/ 58212 h 575269"/>
              <a:gd name="connsiteX5" fmla="*/ 113000 w 493091"/>
              <a:gd name="connsiteY5" fmla="*/ 34242 h 575269"/>
              <a:gd name="connsiteX6" fmla="*/ 273940 w 493091"/>
              <a:gd name="connsiteY6" fmla="*/ 34242 h 575269"/>
              <a:gd name="connsiteX7" fmla="*/ 273940 w 493091"/>
              <a:gd name="connsiteY7" fmla="*/ 154091 h 575269"/>
              <a:gd name="connsiteX8" fmla="*/ 325303 w 493091"/>
              <a:gd name="connsiteY8" fmla="*/ 205455 h 575269"/>
              <a:gd name="connsiteX9" fmla="*/ 458849 w 493091"/>
              <a:gd name="connsiteY9" fmla="*/ 205455 h 575269"/>
              <a:gd name="connsiteX10" fmla="*/ 458849 w 493091"/>
              <a:gd name="connsiteY10" fmla="*/ 489667 h 575269"/>
              <a:gd name="connsiteX11" fmla="*/ 434879 w 493091"/>
              <a:gd name="connsiteY11" fmla="*/ 513637 h 575269"/>
              <a:gd name="connsiteX12" fmla="*/ 205455 w 493091"/>
              <a:gd name="connsiteY12" fmla="*/ 513637 h 575269"/>
              <a:gd name="connsiteX13" fmla="*/ 205455 w 493091"/>
              <a:gd name="connsiteY13" fmla="*/ 547879 h 575269"/>
              <a:gd name="connsiteX14" fmla="*/ 434879 w 493091"/>
              <a:gd name="connsiteY14" fmla="*/ 547879 h 575269"/>
              <a:gd name="connsiteX15" fmla="*/ 493091 w 493091"/>
              <a:gd name="connsiteY15" fmla="*/ 489667 h 575269"/>
              <a:gd name="connsiteX16" fmla="*/ 493091 w 493091"/>
              <a:gd name="connsiteY16" fmla="*/ 197431 h 575269"/>
              <a:gd name="connsiteX17" fmla="*/ 484065 w 493091"/>
              <a:gd name="connsiteY17" fmla="*/ 175639 h 575269"/>
              <a:gd name="connsiteX18" fmla="*/ 317452 w 493091"/>
              <a:gd name="connsiteY18" fmla="*/ 9026 h 575269"/>
              <a:gd name="connsiteX19" fmla="*/ 295660 w 493091"/>
              <a:gd name="connsiteY19" fmla="*/ 0 h 575269"/>
              <a:gd name="connsiteX20" fmla="*/ 113000 w 493091"/>
              <a:gd name="connsiteY20" fmla="*/ 0 h 575269"/>
              <a:gd name="connsiteX21" fmla="*/ 431211 w 493091"/>
              <a:gd name="connsiteY21" fmla="*/ 171212 h 575269"/>
              <a:gd name="connsiteX22" fmla="*/ 325303 w 493091"/>
              <a:gd name="connsiteY22" fmla="*/ 171212 h 575269"/>
              <a:gd name="connsiteX23" fmla="*/ 308182 w 493091"/>
              <a:gd name="connsiteY23" fmla="*/ 154091 h 575269"/>
              <a:gd name="connsiteX24" fmla="*/ 308182 w 493091"/>
              <a:gd name="connsiteY24" fmla="*/ 48183 h 575269"/>
              <a:gd name="connsiteX25" fmla="*/ 431211 w 493091"/>
              <a:gd name="connsiteY25" fmla="*/ 171212 h 575269"/>
              <a:gd name="connsiteX26" fmla="*/ 89030 w 493091"/>
              <a:gd name="connsiteY26" fmla="*/ 261148 h 575269"/>
              <a:gd name="connsiteX27" fmla="*/ 54788 w 493091"/>
              <a:gd name="connsiteY27" fmla="*/ 272091 h 575269"/>
              <a:gd name="connsiteX28" fmla="*/ 0 w 493091"/>
              <a:gd name="connsiteY28" fmla="*/ 362970 h 575269"/>
              <a:gd name="connsiteX29" fmla="*/ 54788 w 493091"/>
              <a:gd name="connsiteY29" fmla="*/ 453849 h 575269"/>
              <a:gd name="connsiteX30" fmla="*/ 89030 w 493091"/>
              <a:gd name="connsiteY30" fmla="*/ 464792 h 575269"/>
              <a:gd name="connsiteX31" fmla="*/ 102727 w 493091"/>
              <a:gd name="connsiteY31" fmla="*/ 465697 h 575269"/>
              <a:gd name="connsiteX32" fmla="*/ 205455 w 493091"/>
              <a:gd name="connsiteY32" fmla="*/ 362970 h 575269"/>
              <a:gd name="connsiteX33" fmla="*/ 102727 w 493091"/>
              <a:gd name="connsiteY33" fmla="*/ 260243 h 575269"/>
              <a:gd name="connsiteX34" fmla="*/ 89030 w 493091"/>
              <a:gd name="connsiteY34" fmla="*/ 261148 h 575269"/>
              <a:gd name="connsiteX35" fmla="*/ 50017 w 493091"/>
              <a:gd name="connsiteY35" fmla="*/ 572519 h 575269"/>
              <a:gd name="connsiteX36" fmla="*/ 27394 w 493091"/>
              <a:gd name="connsiteY36" fmla="*/ 561000 h 575269"/>
              <a:gd name="connsiteX37" fmla="*/ 27394 w 493091"/>
              <a:gd name="connsiteY37" fmla="*/ 469082 h 575269"/>
              <a:gd name="connsiteX38" fmla="*/ 54788 w 493091"/>
              <a:gd name="connsiteY38" fmla="*/ 483979 h 575269"/>
              <a:gd name="connsiteX39" fmla="*/ 89184 w 493091"/>
              <a:gd name="connsiteY39" fmla="*/ 492397 h 575269"/>
              <a:gd name="connsiteX40" fmla="*/ 102727 w 493091"/>
              <a:gd name="connsiteY40" fmla="*/ 493094 h 575269"/>
              <a:gd name="connsiteX41" fmla="*/ 178061 w 493091"/>
              <a:gd name="connsiteY41" fmla="*/ 469082 h 575269"/>
              <a:gd name="connsiteX42" fmla="*/ 178061 w 493091"/>
              <a:gd name="connsiteY42" fmla="*/ 561000 h 575269"/>
              <a:gd name="connsiteX43" fmla="*/ 155437 w 493091"/>
              <a:gd name="connsiteY43" fmla="*/ 572519 h 575269"/>
              <a:gd name="connsiteX44" fmla="*/ 102727 w 493091"/>
              <a:gd name="connsiteY44" fmla="*/ 534185 h 575269"/>
              <a:gd name="connsiteX45" fmla="*/ 50017 w 493091"/>
              <a:gd name="connsiteY45" fmla="*/ 572519 h 575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493091" h="575269">
                <a:moveTo>
                  <a:pt x="113000" y="0"/>
                </a:moveTo>
                <a:cubicBezTo>
                  <a:pt x="80850" y="0"/>
                  <a:pt x="54788" y="26062"/>
                  <a:pt x="54788" y="58212"/>
                </a:cubicBezTo>
                <a:lnTo>
                  <a:pt x="54788" y="241964"/>
                </a:lnTo>
                <a:cubicBezTo>
                  <a:pt x="65570" y="237689"/>
                  <a:pt x="77058" y="234813"/>
                  <a:pt x="89030" y="233561"/>
                </a:cubicBezTo>
                <a:lnTo>
                  <a:pt x="89030" y="58212"/>
                </a:lnTo>
                <a:cubicBezTo>
                  <a:pt x="89030" y="44974"/>
                  <a:pt x="99762" y="34242"/>
                  <a:pt x="113000" y="34242"/>
                </a:cubicBezTo>
                <a:lnTo>
                  <a:pt x="273940" y="34242"/>
                </a:lnTo>
                <a:lnTo>
                  <a:pt x="273940" y="154091"/>
                </a:lnTo>
                <a:cubicBezTo>
                  <a:pt x="273940" y="182459"/>
                  <a:pt x="296935" y="205455"/>
                  <a:pt x="325303" y="205455"/>
                </a:cubicBezTo>
                <a:lnTo>
                  <a:pt x="458849" y="205455"/>
                </a:lnTo>
                <a:lnTo>
                  <a:pt x="458849" y="489667"/>
                </a:lnTo>
                <a:cubicBezTo>
                  <a:pt x="458849" y="502905"/>
                  <a:pt x="448117" y="513637"/>
                  <a:pt x="434879" y="513637"/>
                </a:cubicBezTo>
                <a:lnTo>
                  <a:pt x="205455" y="513637"/>
                </a:lnTo>
                <a:lnTo>
                  <a:pt x="205455" y="547879"/>
                </a:lnTo>
                <a:lnTo>
                  <a:pt x="434879" y="547879"/>
                </a:lnTo>
                <a:cubicBezTo>
                  <a:pt x="467029" y="547879"/>
                  <a:pt x="493091" y="521817"/>
                  <a:pt x="493091" y="489667"/>
                </a:cubicBezTo>
                <a:lnTo>
                  <a:pt x="493091" y="197431"/>
                </a:lnTo>
                <a:cubicBezTo>
                  <a:pt x="493091" y="189258"/>
                  <a:pt x="489844" y="181419"/>
                  <a:pt x="484065" y="175639"/>
                </a:cubicBezTo>
                <a:lnTo>
                  <a:pt x="317452" y="9026"/>
                </a:lnTo>
                <a:cubicBezTo>
                  <a:pt x="311672" y="3247"/>
                  <a:pt x="303833" y="0"/>
                  <a:pt x="295660" y="0"/>
                </a:cubicBezTo>
                <a:lnTo>
                  <a:pt x="113000" y="0"/>
                </a:lnTo>
                <a:close/>
                <a:moveTo>
                  <a:pt x="431211" y="171212"/>
                </a:moveTo>
                <a:lnTo>
                  <a:pt x="325303" y="171212"/>
                </a:lnTo>
                <a:cubicBezTo>
                  <a:pt x="315847" y="171212"/>
                  <a:pt x="308182" y="163547"/>
                  <a:pt x="308182" y="154091"/>
                </a:cubicBezTo>
                <a:lnTo>
                  <a:pt x="308182" y="48183"/>
                </a:lnTo>
                <a:lnTo>
                  <a:pt x="431211" y="171212"/>
                </a:lnTo>
                <a:close/>
                <a:moveTo>
                  <a:pt x="89030" y="261148"/>
                </a:moveTo>
                <a:cubicBezTo>
                  <a:pt x="76806" y="262777"/>
                  <a:pt x="65261" y="266556"/>
                  <a:pt x="54788" y="272091"/>
                </a:cubicBezTo>
                <a:cubicBezTo>
                  <a:pt x="22204" y="289314"/>
                  <a:pt x="0" y="323550"/>
                  <a:pt x="0" y="362970"/>
                </a:cubicBezTo>
                <a:cubicBezTo>
                  <a:pt x="0" y="402390"/>
                  <a:pt x="22204" y="436625"/>
                  <a:pt x="54788" y="453849"/>
                </a:cubicBezTo>
                <a:cubicBezTo>
                  <a:pt x="65261" y="459384"/>
                  <a:pt x="76806" y="463163"/>
                  <a:pt x="89030" y="464792"/>
                </a:cubicBezTo>
                <a:cubicBezTo>
                  <a:pt x="93511" y="465389"/>
                  <a:pt x="98083" y="465697"/>
                  <a:pt x="102727" y="465697"/>
                </a:cubicBezTo>
                <a:cubicBezTo>
                  <a:pt x="159462" y="465697"/>
                  <a:pt x="205455" y="419704"/>
                  <a:pt x="205455" y="362970"/>
                </a:cubicBezTo>
                <a:cubicBezTo>
                  <a:pt x="205455" y="306236"/>
                  <a:pt x="159462" y="260243"/>
                  <a:pt x="102727" y="260243"/>
                </a:cubicBezTo>
                <a:cubicBezTo>
                  <a:pt x="98083" y="260243"/>
                  <a:pt x="93511" y="260551"/>
                  <a:pt x="89030" y="261148"/>
                </a:cubicBezTo>
                <a:close/>
                <a:moveTo>
                  <a:pt x="50017" y="572519"/>
                </a:moveTo>
                <a:cubicBezTo>
                  <a:pt x="40602" y="579367"/>
                  <a:pt x="27394" y="572641"/>
                  <a:pt x="27394" y="561000"/>
                </a:cubicBezTo>
                <a:lnTo>
                  <a:pt x="27394" y="469082"/>
                </a:lnTo>
                <a:cubicBezTo>
                  <a:pt x="35834" y="475084"/>
                  <a:pt x="45021" y="480105"/>
                  <a:pt x="54788" y="483979"/>
                </a:cubicBezTo>
                <a:cubicBezTo>
                  <a:pt x="65616" y="488271"/>
                  <a:pt x="77157" y="491153"/>
                  <a:pt x="89184" y="492397"/>
                </a:cubicBezTo>
                <a:cubicBezTo>
                  <a:pt x="93635" y="492857"/>
                  <a:pt x="98154" y="493094"/>
                  <a:pt x="102727" y="493094"/>
                </a:cubicBezTo>
                <a:cubicBezTo>
                  <a:pt x="130802" y="493094"/>
                  <a:pt x="156802" y="484202"/>
                  <a:pt x="178061" y="469082"/>
                </a:cubicBezTo>
                <a:lnTo>
                  <a:pt x="178061" y="561000"/>
                </a:lnTo>
                <a:cubicBezTo>
                  <a:pt x="178061" y="572641"/>
                  <a:pt x="164853" y="579367"/>
                  <a:pt x="155437" y="572519"/>
                </a:cubicBezTo>
                <a:lnTo>
                  <a:pt x="102727" y="534185"/>
                </a:lnTo>
                <a:lnTo>
                  <a:pt x="50017" y="572519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3600000" scaled="0"/>
          </a:gradFill>
          <a:ln w="1369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5" name="Graphic 38" descr="Document&#10;Keyword: fluent-icon;&#10;Metaphor: paper, work, file, analog, vertical;&#10;&#10;Used to represent general file types and actions.">
            <a:extLst>
              <a:ext uri="{FF2B5EF4-FFF2-40B4-BE49-F238E27FC236}">
                <a16:creationId xmlns:a16="http://schemas.microsoft.com/office/drawing/2014/main" id="{1EDC85BC-DAB4-CC17-B667-C6A9058BA2A9}"/>
              </a:ext>
            </a:extLst>
          </p:cNvPr>
          <p:cNvSpPr/>
          <p:nvPr/>
        </p:nvSpPr>
        <p:spPr>
          <a:xfrm>
            <a:off x="3545170" y="4362913"/>
            <a:ext cx="438303" cy="547879"/>
          </a:xfrm>
          <a:custGeom>
            <a:avLst/>
            <a:gdLst>
              <a:gd name="connsiteX0" fmla="*/ 58212 w 438303"/>
              <a:gd name="connsiteY0" fmla="*/ 0 h 547879"/>
              <a:gd name="connsiteX1" fmla="*/ 0 w 438303"/>
              <a:gd name="connsiteY1" fmla="*/ 58212 h 547879"/>
              <a:gd name="connsiteX2" fmla="*/ 0 w 438303"/>
              <a:gd name="connsiteY2" fmla="*/ 489667 h 547879"/>
              <a:gd name="connsiteX3" fmla="*/ 58212 w 438303"/>
              <a:gd name="connsiteY3" fmla="*/ 547879 h 547879"/>
              <a:gd name="connsiteX4" fmla="*/ 380091 w 438303"/>
              <a:gd name="connsiteY4" fmla="*/ 547879 h 547879"/>
              <a:gd name="connsiteX5" fmla="*/ 438303 w 438303"/>
              <a:gd name="connsiteY5" fmla="*/ 489667 h 547879"/>
              <a:gd name="connsiteX6" fmla="*/ 438303 w 438303"/>
              <a:gd name="connsiteY6" fmla="*/ 197431 h 547879"/>
              <a:gd name="connsiteX7" fmla="*/ 429277 w 438303"/>
              <a:gd name="connsiteY7" fmla="*/ 175639 h 547879"/>
              <a:gd name="connsiteX8" fmla="*/ 262664 w 438303"/>
              <a:gd name="connsiteY8" fmla="*/ 9026 h 547879"/>
              <a:gd name="connsiteX9" fmla="*/ 240872 w 438303"/>
              <a:gd name="connsiteY9" fmla="*/ 0 h 547879"/>
              <a:gd name="connsiteX10" fmla="*/ 58212 w 438303"/>
              <a:gd name="connsiteY10" fmla="*/ 0 h 547879"/>
              <a:gd name="connsiteX11" fmla="*/ 34242 w 438303"/>
              <a:gd name="connsiteY11" fmla="*/ 58212 h 547879"/>
              <a:gd name="connsiteX12" fmla="*/ 58212 w 438303"/>
              <a:gd name="connsiteY12" fmla="*/ 34242 h 547879"/>
              <a:gd name="connsiteX13" fmla="*/ 219152 w 438303"/>
              <a:gd name="connsiteY13" fmla="*/ 34242 h 547879"/>
              <a:gd name="connsiteX14" fmla="*/ 219152 w 438303"/>
              <a:gd name="connsiteY14" fmla="*/ 154091 h 547879"/>
              <a:gd name="connsiteX15" fmla="*/ 270515 w 438303"/>
              <a:gd name="connsiteY15" fmla="*/ 205455 h 547879"/>
              <a:gd name="connsiteX16" fmla="*/ 404061 w 438303"/>
              <a:gd name="connsiteY16" fmla="*/ 205455 h 547879"/>
              <a:gd name="connsiteX17" fmla="*/ 404061 w 438303"/>
              <a:gd name="connsiteY17" fmla="*/ 489667 h 547879"/>
              <a:gd name="connsiteX18" fmla="*/ 380091 w 438303"/>
              <a:gd name="connsiteY18" fmla="*/ 513637 h 547879"/>
              <a:gd name="connsiteX19" fmla="*/ 58212 w 438303"/>
              <a:gd name="connsiteY19" fmla="*/ 513637 h 547879"/>
              <a:gd name="connsiteX20" fmla="*/ 34242 w 438303"/>
              <a:gd name="connsiteY20" fmla="*/ 489667 h 547879"/>
              <a:gd name="connsiteX21" fmla="*/ 34242 w 438303"/>
              <a:gd name="connsiteY21" fmla="*/ 58212 h 547879"/>
              <a:gd name="connsiteX22" fmla="*/ 376423 w 438303"/>
              <a:gd name="connsiteY22" fmla="*/ 171212 h 547879"/>
              <a:gd name="connsiteX23" fmla="*/ 270515 w 438303"/>
              <a:gd name="connsiteY23" fmla="*/ 171212 h 547879"/>
              <a:gd name="connsiteX24" fmla="*/ 253394 w 438303"/>
              <a:gd name="connsiteY24" fmla="*/ 154091 h 547879"/>
              <a:gd name="connsiteX25" fmla="*/ 253394 w 438303"/>
              <a:gd name="connsiteY25" fmla="*/ 48183 h 547879"/>
              <a:gd name="connsiteX26" fmla="*/ 376423 w 438303"/>
              <a:gd name="connsiteY26" fmla="*/ 171212 h 547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38303" h="547879">
                <a:moveTo>
                  <a:pt x="58212" y="0"/>
                </a:moveTo>
                <a:cubicBezTo>
                  <a:pt x="26062" y="0"/>
                  <a:pt x="0" y="26062"/>
                  <a:pt x="0" y="58212"/>
                </a:cubicBezTo>
                <a:lnTo>
                  <a:pt x="0" y="489667"/>
                </a:lnTo>
                <a:cubicBezTo>
                  <a:pt x="0" y="521817"/>
                  <a:pt x="26062" y="547879"/>
                  <a:pt x="58212" y="547879"/>
                </a:cubicBezTo>
                <a:lnTo>
                  <a:pt x="380091" y="547879"/>
                </a:lnTo>
                <a:cubicBezTo>
                  <a:pt x="412241" y="547879"/>
                  <a:pt x="438303" y="521817"/>
                  <a:pt x="438303" y="489667"/>
                </a:cubicBezTo>
                <a:lnTo>
                  <a:pt x="438303" y="197431"/>
                </a:lnTo>
                <a:cubicBezTo>
                  <a:pt x="438303" y="189258"/>
                  <a:pt x="435056" y="181419"/>
                  <a:pt x="429277" y="175639"/>
                </a:cubicBezTo>
                <a:lnTo>
                  <a:pt x="262664" y="9026"/>
                </a:lnTo>
                <a:cubicBezTo>
                  <a:pt x="256884" y="3247"/>
                  <a:pt x="249045" y="0"/>
                  <a:pt x="240872" y="0"/>
                </a:cubicBezTo>
                <a:lnTo>
                  <a:pt x="58212" y="0"/>
                </a:lnTo>
                <a:close/>
                <a:moveTo>
                  <a:pt x="34242" y="58212"/>
                </a:moveTo>
                <a:cubicBezTo>
                  <a:pt x="34242" y="44974"/>
                  <a:pt x="44974" y="34242"/>
                  <a:pt x="58212" y="34242"/>
                </a:cubicBezTo>
                <a:lnTo>
                  <a:pt x="219152" y="34242"/>
                </a:lnTo>
                <a:lnTo>
                  <a:pt x="219152" y="154091"/>
                </a:lnTo>
                <a:cubicBezTo>
                  <a:pt x="219152" y="182459"/>
                  <a:pt x="242148" y="205455"/>
                  <a:pt x="270515" y="205455"/>
                </a:cubicBezTo>
                <a:lnTo>
                  <a:pt x="404061" y="205455"/>
                </a:lnTo>
                <a:lnTo>
                  <a:pt x="404061" y="489667"/>
                </a:lnTo>
                <a:cubicBezTo>
                  <a:pt x="404061" y="502905"/>
                  <a:pt x="393329" y="513637"/>
                  <a:pt x="380091" y="513637"/>
                </a:cubicBezTo>
                <a:lnTo>
                  <a:pt x="58212" y="513637"/>
                </a:lnTo>
                <a:cubicBezTo>
                  <a:pt x="44974" y="513637"/>
                  <a:pt x="34242" y="502905"/>
                  <a:pt x="34242" y="489667"/>
                </a:cubicBezTo>
                <a:lnTo>
                  <a:pt x="34242" y="58212"/>
                </a:lnTo>
                <a:close/>
                <a:moveTo>
                  <a:pt x="376423" y="171212"/>
                </a:moveTo>
                <a:lnTo>
                  <a:pt x="270515" y="171212"/>
                </a:lnTo>
                <a:cubicBezTo>
                  <a:pt x="261059" y="171212"/>
                  <a:pt x="253394" y="163547"/>
                  <a:pt x="253394" y="154091"/>
                </a:cubicBezTo>
                <a:lnTo>
                  <a:pt x="253394" y="48183"/>
                </a:lnTo>
                <a:lnTo>
                  <a:pt x="376423" y="171212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3600000" scaled="0"/>
          </a:gradFill>
          <a:ln w="1369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6" name="Graphic 39" descr="Document Add&#10;Keyword: fluent-icon;&#10;Metaphor: paper, work, file, analog, new, plus, create, vertical;&#10;&#10;Used to represent general file types and actions.">
            <a:extLst>
              <a:ext uri="{FF2B5EF4-FFF2-40B4-BE49-F238E27FC236}">
                <a16:creationId xmlns:a16="http://schemas.microsoft.com/office/drawing/2014/main" id="{1F080745-6783-22EE-6CCE-0462A214D159}"/>
              </a:ext>
            </a:extLst>
          </p:cNvPr>
          <p:cNvSpPr/>
          <p:nvPr/>
        </p:nvSpPr>
        <p:spPr>
          <a:xfrm>
            <a:off x="4389849" y="4362913"/>
            <a:ext cx="520485" cy="575273"/>
          </a:xfrm>
          <a:custGeom>
            <a:avLst/>
            <a:gdLst>
              <a:gd name="connsiteX0" fmla="*/ 116424 w 520485"/>
              <a:gd name="connsiteY0" fmla="*/ 58212 h 575273"/>
              <a:gd name="connsiteX1" fmla="*/ 140394 w 520485"/>
              <a:gd name="connsiteY1" fmla="*/ 34242 h 575273"/>
              <a:gd name="connsiteX2" fmla="*/ 301334 w 520485"/>
              <a:gd name="connsiteY2" fmla="*/ 34242 h 575273"/>
              <a:gd name="connsiteX3" fmla="*/ 301334 w 520485"/>
              <a:gd name="connsiteY3" fmla="*/ 154091 h 575273"/>
              <a:gd name="connsiteX4" fmla="*/ 352697 w 520485"/>
              <a:gd name="connsiteY4" fmla="*/ 205455 h 575273"/>
              <a:gd name="connsiteX5" fmla="*/ 486243 w 520485"/>
              <a:gd name="connsiteY5" fmla="*/ 205455 h 575273"/>
              <a:gd name="connsiteX6" fmla="*/ 486243 w 520485"/>
              <a:gd name="connsiteY6" fmla="*/ 489667 h 575273"/>
              <a:gd name="connsiteX7" fmla="*/ 462273 w 520485"/>
              <a:gd name="connsiteY7" fmla="*/ 513637 h 575273"/>
              <a:gd name="connsiteX8" fmla="*/ 304906 w 520485"/>
              <a:gd name="connsiteY8" fmla="*/ 513637 h 575273"/>
              <a:gd name="connsiteX9" fmla="*/ 279157 w 520485"/>
              <a:gd name="connsiteY9" fmla="*/ 547879 h 575273"/>
              <a:gd name="connsiteX10" fmla="*/ 462273 w 520485"/>
              <a:gd name="connsiteY10" fmla="*/ 547879 h 575273"/>
              <a:gd name="connsiteX11" fmla="*/ 520485 w 520485"/>
              <a:gd name="connsiteY11" fmla="*/ 489667 h 575273"/>
              <a:gd name="connsiteX12" fmla="*/ 520485 w 520485"/>
              <a:gd name="connsiteY12" fmla="*/ 197431 h 575273"/>
              <a:gd name="connsiteX13" fmla="*/ 511459 w 520485"/>
              <a:gd name="connsiteY13" fmla="*/ 175639 h 575273"/>
              <a:gd name="connsiteX14" fmla="*/ 344846 w 520485"/>
              <a:gd name="connsiteY14" fmla="*/ 9026 h 575273"/>
              <a:gd name="connsiteX15" fmla="*/ 323054 w 520485"/>
              <a:gd name="connsiteY15" fmla="*/ 0 h 575273"/>
              <a:gd name="connsiteX16" fmla="*/ 140394 w 520485"/>
              <a:gd name="connsiteY16" fmla="*/ 0 h 575273"/>
              <a:gd name="connsiteX17" fmla="*/ 82182 w 520485"/>
              <a:gd name="connsiteY17" fmla="*/ 58212 h 575273"/>
              <a:gd name="connsiteX18" fmla="*/ 82182 w 520485"/>
              <a:gd name="connsiteY18" fmla="*/ 260192 h 575273"/>
              <a:gd name="connsiteX19" fmla="*/ 116424 w 520485"/>
              <a:gd name="connsiteY19" fmla="*/ 249836 h 575273"/>
              <a:gd name="connsiteX20" fmla="*/ 116424 w 520485"/>
              <a:gd name="connsiteY20" fmla="*/ 58212 h 575273"/>
              <a:gd name="connsiteX21" fmla="*/ 458605 w 520485"/>
              <a:gd name="connsiteY21" fmla="*/ 171212 h 575273"/>
              <a:gd name="connsiteX22" fmla="*/ 352697 w 520485"/>
              <a:gd name="connsiteY22" fmla="*/ 171212 h 575273"/>
              <a:gd name="connsiteX23" fmla="*/ 335576 w 520485"/>
              <a:gd name="connsiteY23" fmla="*/ 154091 h 575273"/>
              <a:gd name="connsiteX24" fmla="*/ 335576 w 520485"/>
              <a:gd name="connsiteY24" fmla="*/ 48183 h 575273"/>
              <a:gd name="connsiteX25" fmla="*/ 458605 w 520485"/>
              <a:gd name="connsiteY25" fmla="*/ 171212 h 575273"/>
              <a:gd name="connsiteX26" fmla="*/ 301334 w 520485"/>
              <a:gd name="connsiteY26" fmla="*/ 424606 h 575273"/>
              <a:gd name="connsiteX27" fmla="*/ 150667 w 520485"/>
              <a:gd name="connsiteY27" fmla="*/ 575273 h 575273"/>
              <a:gd name="connsiteX28" fmla="*/ 0 w 520485"/>
              <a:gd name="connsiteY28" fmla="*/ 424606 h 575273"/>
              <a:gd name="connsiteX29" fmla="*/ 150667 w 520485"/>
              <a:gd name="connsiteY29" fmla="*/ 273940 h 575273"/>
              <a:gd name="connsiteX30" fmla="*/ 301334 w 520485"/>
              <a:gd name="connsiteY30" fmla="*/ 424606 h 575273"/>
              <a:gd name="connsiteX31" fmla="*/ 164364 w 520485"/>
              <a:gd name="connsiteY31" fmla="*/ 328728 h 575273"/>
              <a:gd name="connsiteX32" fmla="*/ 150667 w 520485"/>
              <a:gd name="connsiteY32" fmla="*/ 315031 h 575273"/>
              <a:gd name="connsiteX33" fmla="*/ 136970 w 520485"/>
              <a:gd name="connsiteY33" fmla="*/ 328728 h 575273"/>
              <a:gd name="connsiteX34" fmla="*/ 136970 w 520485"/>
              <a:gd name="connsiteY34" fmla="*/ 410909 h 575273"/>
              <a:gd name="connsiteX35" fmla="*/ 54788 w 520485"/>
              <a:gd name="connsiteY35" fmla="*/ 410909 h 575273"/>
              <a:gd name="connsiteX36" fmla="*/ 41091 w 520485"/>
              <a:gd name="connsiteY36" fmla="*/ 424606 h 575273"/>
              <a:gd name="connsiteX37" fmla="*/ 54788 w 520485"/>
              <a:gd name="connsiteY37" fmla="*/ 438303 h 575273"/>
              <a:gd name="connsiteX38" fmla="*/ 136970 w 520485"/>
              <a:gd name="connsiteY38" fmla="*/ 438303 h 575273"/>
              <a:gd name="connsiteX39" fmla="*/ 136970 w 520485"/>
              <a:gd name="connsiteY39" fmla="*/ 520485 h 575273"/>
              <a:gd name="connsiteX40" fmla="*/ 150667 w 520485"/>
              <a:gd name="connsiteY40" fmla="*/ 534182 h 575273"/>
              <a:gd name="connsiteX41" fmla="*/ 164364 w 520485"/>
              <a:gd name="connsiteY41" fmla="*/ 520485 h 575273"/>
              <a:gd name="connsiteX42" fmla="*/ 164364 w 520485"/>
              <a:gd name="connsiteY42" fmla="*/ 438303 h 575273"/>
              <a:gd name="connsiteX43" fmla="*/ 246546 w 520485"/>
              <a:gd name="connsiteY43" fmla="*/ 438303 h 575273"/>
              <a:gd name="connsiteX44" fmla="*/ 260243 w 520485"/>
              <a:gd name="connsiteY44" fmla="*/ 424606 h 575273"/>
              <a:gd name="connsiteX45" fmla="*/ 246546 w 520485"/>
              <a:gd name="connsiteY45" fmla="*/ 410909 h 575273"/>
              <a:gd name="connsiteX46" fmla="*/ 164364 w 520485"/>
              <a:gd name="connsiteY46" fmla="*/ 410909 h 575273"/>
              <a:gd name="connsiteX47" fmla="*/ 164364 w 520485"/>
              <a:gd name="connsiteY47" fmla="*/ 328728 h 575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520485" h="575273">
                <a:moveTo>
                  <a:pt x="116424" y="58212"/>
                </a:moveTo>
                <a:cubicBezTo>
                  <a:pt x="116424" y="44974"/>
                  <a:pt x="127156" y="34242"/>
                  <a:pt x="140394" y="34242"/>
                </a:cubicBezTo>
                <a:lnTo>
                  <a:pt x="301334" y="34242"/>
                </a:lnTo>
                <a:lnTo>
                  <a:pt x="301334" y="154091"/>
                </a:lnTo>
                <a:cubicBezTo>
                  <a:pt x="301334" y="182459"/>
                  <a:pt x="324329" y="205455"/>
                  <a:pt x="352697" y="205455"/>
                </a:cubicBezTo>
                <a:lnTo>
                  <a:pt x="486243" y="205455"/>
                </a:lnTo>
                <a:lnTo>
                  <a:pt x="486243" y="489667"/>
                </a:lnTo>
                <a:cubicBezTo>
                  <a:pt x="486243" y="502905"/>
                  <a:pt x="475511" y="513637"/>
                  <a:pt x="462273" y="513637"/>
                </a:cubicBezTo>
                <a:lnTo>
                  <a:pt x="304906" y="513637"/>
                </a:lnTo>
                <a:cubicBezTo>
                  <a:pt x="297708" y="526082"/>
                  <a:pt x="289046" y="537574"/>
                  <a:pt x="279157" y="547879"/>
                </a:cubicBezTo>
                <a:lnTo>
                  <a:pt x="462273" y="547879"/>
                </a:lnTo>
                <a:cubicBezTo>
                  <a:pt x="494423" y="547879"/>
                  <a:pt x="520485" y="521817"/>
                  <a:pt x="520485" y="489667"/>
                </a:cubicBezTo>
                <a:lnTo>
                  <a:pt x="520485" y="197431"/>
                </a:lnTo>
                <a:cubicBezTo>
                  <a:pt x="520485" y="189258"/>
                  <a:pt x="517238" y="181419"/>
                  <a:pt x="511459" y="175639"/>
                </a:cubicBezTo>
                <a:lnTo>
                  <a:pt x="344846" y="9026"/>
                </a:lnTo>
                <a:cubicBezTo>
                  <a:pt x="339066" y="3247"/>
                  <a:pt x="331227" y="0"/>
                  <a:pt x="323054" y="0"/>
                </a:cubicBezTo>
                <a:lnTo>
                  <a:pt x="140394" y="0"/>
                </a:lnTo>
                <a:cubicBezTo>
                  <a:pt x="108244" y="0"/>
                  <a:pt x="82182" y="26062"/>
                  <a:pt x="82182" y="58212"/>
                </a:cubicBezTo>
                <a:lnTo>
                  <a:pt x="82182" y="260192"/>
                </a:lnTo>
                <a:cubicBezTo>
                  <a:pt x="93089" y="255643"/>
                  <a:pt x="104546" y="252149"/>
                  <a:pt x="116424" y="249836"/>
                </a:cubicBezTo>
                <a:lnTo>
                  <a:pt x="116424" y="58212"/>
                </a:lnTo>
                <a:close/>
                <a:moveTo>
                  <a:pt x="458605" y="171212"/>
                </a:moveTo>
                <a:lnTo>
                  <a:pt x="352697" y="171212"/>
                </a:lnTo>
                <a:cubicBezTo>
                  <a:pt x="343241" y="171212"/>
                  <a:pt x="335576" y="163547"/>
                  <a:pt x="335576" y="154091"/>
                </a:cubicBezTo>
                <a:lnTo>
                  <a:pt x="335576" y="48183"/>
                </a:lnTo>
                <a:lnTo>
                  <a:pt x="458605" y="171212"/>
                </a:lnTo>
                <a:close/>
                <a:moveTo>
                  <a:pt x="301334" y="424606"/>
                </a:moveTo>
                <a:cubicBezTo>
                  <a:pt x="301334" y="507817"/>
                  <a:pt x="233877" y="575273"/>
                  <a:pt x="150667" y="575273"/>
                </a:cubicBezTo>
                <a:cubicBezTo>
                  <a:pt x="67456" y="575273"/>
                  <a:pt x="0" y="507817"/>
                  <a:pt x="0" y="424606"/>
                </a:cubicBezTo>
                <a:cubicBezTo>
                  <a:pt x="0" y="341396"/>
                  <a:pt x="67456" y="273940"/>
                  <a:pt x="150667" y="273940"/>
                </a:cubicBezTo>
                <a:cubicBezTo>
                  <a:pt x="233877" y="273940"/>
                  <a:pt x="301334" y="341396"/>
                  <a:pt x="301334" y="424606"/>
                </a:cubicBezTo>
                <a:close/>
                <a:moveTo>
                  <a:pt x="164364" y="328728"/>
                </a:moveTo>
                <a:cubicBezTo>
                  <a:pt x="164364" y="321163"/>
                  <a:pt x="158232" y="315031"/>
                  <a:pt x="150667" y="315031"/>
                </a:cubicBezTo>
                <a:cubicBezTo>
                  <a:pt x="143102" y="315031"/>
                  <a:pt x="136970" y="321163"/>
                  <a:pt x="136970" y="328728"/>
                </a:cubicBezTo>
                <a:lnTo>
                  <a:pt x="136970" y="410909"/>
                </a:lnTo>
                <a:lnTo>
                  <a:pt x="54788" y="410909"/>
                </a:lnTo>
                <a:cubicBezTo>
                  <a:pt x="47223" y="410909"/>
                  <a:pt x="41091" y="417042"/>
                  <a:pt x="41091" y="424606"/>
                </a:cubicBezTo>
                <a:cubicBezTo>
                  <a:pt x="41091" y="432171"/>
                  <a:pt x="47223" y="438303"/>
                  <a:pt x="54788" y="438303"/>
                </a:cubicBezTo>
                <a:lnTo>
                  <a:pt x="136970" y="438303"/>
                </a:lnTo>
                <a:lnTo>
                  <a:pt x="136970" y="520485"/>
                </a:lnTo>
                <a:cubicBezTo>
                  <a:pt x="136970" y="528050"/>
                  <a:pt x="143102" y="534182"/>
                  <a:pt x="150667" y="534182"/>
                </a:cubicBezTo>
                <a:cubicBezTo>
                  <a:pt x="158232" y="534182"/>
                  <a:pt x="164364" y="528050"/>
                  <a:pt x="164364" y="520485"/>
                </a:cubicBezTo>
                <a:lnTo>
                  <a:pt x="164364" y="438303"/>
                </a:lnTo>
                <a:lnTo>
                  <a:pt x="246546" y="438303"/>
                </a:lnTo>
                <a:cubicBezTo>
                  <a:pt x="254110" y="438303"/>
                  <a:pt x="260243" y="432171"/>
                  <a:pt x="260243" y="424606"/>
                </a:cubicBezTo>
                <a:cubicBezTo>
                  <a:pt x="260243" y="417042"/>
                  <a:pt x="254110" y="410909"/>
                  <a:pt x="246546" y="410909"/>
                </a:cubicBezTo>
                <a:lnTo>
                  <a:pt x="164364" y="410909"/>
                </a:lnTo>
                <a:lnTo>
                  <a:pt x="164364" y="328728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3600000" scaled="0"/>
          </a:gradFill>
          <a:ln w="1369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7" name="Graphic 40" descr="Document Copy&#10;Keyword: fluent-icon;&#10;Metaphor: paper, work, file, analog, share, paste, forward, vertical;&#10;&#10;Used to represent copying file types.">
            <a:extLst>
              <a:ext uri="{FF2B5EF4-FFF2-40B4-BE49-F238E27FC236}">
                <a16:creationId xmlns:a16="http://schemas.microsoft.com/office/drawing/2014/main" id="{E8BA11D0-D959-3472-5359-A370C0C7A37F}"/>
              </a:ext>
            </a:extLst>
          </p:cNvPr>
          <p:cNvSpPr/>
          <p:nvPr/>
        </p:nvSpPr>
        <p:spPr>
          <a:xfrm>
            <a:off x="5416893" y="4376610"/>
            <a:ext cx="410909" cy="520485"/>
          </a:xfrm>
          <a:custGeom>
            <a:avLst/>
            <a:gdLst>
              <a:gd name="connsiteX0" fmla="*/ 34248 w 410909"/>
              <a:gd name="connsiteY0" fmla="*/ 73631 h 520485"/>
              <a:gd name="connsiteX1" fmla="*/ 34242 w 410909"/>
              <a:gd name="connsiteY1" fmla="*/ 393788 h 520485"/>
              <a:gd name="connsiteX2" fmla="*/ 126697 w 410909"/>
              <a:gd name="connsiteY2" fmla="*/ 486243 h 520485"/>
              <a:gd name="connsiteX3" fmla="*/ 337273 w 410909"/>
              <a:gd name="connsiteY3" fmla="*/ 486251 h 520485"/>
              <a:gd name="connsiteX4" fmla="*/ 284212 w 410909"/>
              <a:gd name="connsiteY4" fmla="*/ 520485 h 520485"/>
              <a:gd name="connsiteX5" fmla="*/ 126697 w 410909"/>
              <a:gd name="connsiteY5" fmla="*/ 520485 h 520485"/>
              <a:gd name="connsiteX6" fmla="*/ 0 w 410909"/>
              <a:gd name="connsiteY6" fmla="*/ 393788 h 520485"/>
              <a:gd name="connsiteX7" fmla="*/ 0 w 410909"/>
              <a:gd name="connsiteY7" fmla="*/ 126697 h 520485"/>
              <a:gd name="connsiteX8" fmla="*/ 34248 w 410909"/>
              <a:gd name="connsiteY8" fmla="*/ 73631 h 520485"/>
              <a:gd name="connsiteX9" fmla="*/ 229526 w 410909"/>
              <a:gd name="connsiteY9" fmla="*/ 0 h 520485"/>
              <a:gd name="connsiteX10" fmla="*/ 270688 w 410909"/>
              <a:gd name="connsiteY10" fmla="*/ 17050 h 520485"/>
              <a:gd name="connsiteX11" fmla="*/ 393859 w 410909"/>
              <a:gd name="connsiteY11" fmla="*/ 140221 h 520485"/>
              <a:gd name="connsiteX12" fmla="*/ 410909 w 410909"/>
              <a:gd name="connsiteY12" fmla="*/ 181384 h 520485"/>
              <a:gd name="connsiteX13" fmla="*/ 410909 w 410909"/>
              <a:gd name="connsiteY13" fmla="*/ 393788 h 520485"/>
              <a:gd name="connsiteX14" fmla="*/ 352697 w 410909"/>
              <a:gd name="connsiteY14" fmla="*/ 452000 h 520485"/>
              <a:gd name="connsiteX15" fmla="*/ 126697 w 410909"/>
              <a:gd name="connsiteY15" fmla="*/ 452000 h 520485"/>
              <a:gd name="connsiteX16" fmla="*/ 68485 w 410909"/>
              <a:gd name="connsiteY16" fmla="*/ 393788 h 520485"/>
              <a:gd name="connsiteX17" fmla="*/ 68485 w 410909"/>
              <a:gd name="connsiteY17" fmla="*/ 58212 h 520485"/>
              <a:gd name="connsiteX18" fmla="*/ 126697 w 410909"/>
              <a:gd name="connsiteY18" fmla="*/ 0 h 520485"/>
              <a:gd name="connsiteX19" fmla="*/ 229526 w 410909"/>
              <a:gd name="connsiteY19" fmla="*/ 0 h 520485"/>
              <a:gd name="connsiteX20" fmla="*/ 219152 w 410909"/>
              <a:gd name="connsiteY20" fmla="*/ 34242 h 520485"/>
              <a:gd name="connsiteX21" fmla="*/ 126697 w 410909"/>
              <a:gd name="connsiteY21" fmla="*/ 34242 h 520485"/>
              <a:gd name="connsiteX22" fmla="*/ 102727 w 410909"/>
              <a:gd name="connsiteY22" fmla="*/ 58212 h 520485"/>
              <a:gd name="connsiteX23" fmla="*/ 102727 w 410909"/>
              <a:gd name="connsiteY23" fmla="*/ 393788 h 520485"/>
              <a:gd name="connsiteX24" fmla="*/ 126697 w 410909"/>
              <a:gd name="connsiteY24" fmla="*/ 417758 h 520485"/>
              <a:gd name="connsiteX25" fmla="*/ 352697 w 410909"/>
              <a:gd name="connsiteY25" fmla="*/ 417758 h 520485"/>
              <a:gd name="connsiteX26" fmla="*/ 376667 w 410909"/>
              <a:gd name="connsiteY26" fmla="*/ 393788 h 520485"/>
              <a:gd name="connsiteX27" fmla="*/ 376667 w 410909"/>
              <a:gd name="connsiteY27" fmla="*/ 191758 h 520485"/>
              <a:gd name="connsiteX28" fmla="*/ 277364 w 410909"/>
              <a:gd name="connsiteY28" fmla="*/ 191758 h 520485"/>
              <a:gd name="connsiteX29" fmla="*/ 219219 w 410909"/>
              <a:gd name="connsiteY29" fmla="*/ 136366 h 520485"/>
              <a:gd name="connsiteX30" fmla="*/ 219152 w 410909"/>
              <a:gd name="connsiteY30" fmla="*/ 133546 h 520485"/>
              <a:gd name="connsiteX31" fmla="*/ 219152 w 410909"/>
              <a:gd name="connsiteY31" fmla="*/ 34242 h 520485"/>
              <a:gd name="connsiteX32" fmla="*/ 362723 w 410909"/>
              <a:gd name="connsiteY32" fmla="*/ 157515 h 520485"/>
              <a:gd name="connsiteX33" fmla="*/ 253394 w 410909"/>
              <a:gd name="connsiteY33" fmla="*/ 48186 h 520485"/>
              <a:gd name="connsiteX34" fmla="*/ 253394 w 410909"/>
              <a:gd name="connsiteY34" fmla="*/ 133546 h 520485"/>
              <a:gd name="connsiteX35" fmla="*/ 275398 w 410909"/>
              <a:gd name="connsiteY35" fmla="*/ 157436 h 520485"/>
              <a:gd name="connsiteX36" fmla="*/ 277364 w 410909"/>
              <a:gd name="connsiteY36" fmla="*/ 157515 h 520485"/>
              <a:gd name="connsiteX37" fmla="*/ 362723 w 410909"/>
              <a:gd name="connsiteY37" fmla="*/ 157515 h 520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410909" h="520485">
                <a:moveTo>
                  <a:pt x="34248" y="73631"/>
                </a:moveTo>
                <a:lnTo>
                  <a:pt x="34242" y="393788"/>
                </a:lnTo>
                <a:cubicBezTo>
                  <a:pt x="34242" y="444849"/>
                  <a:pt x="75636" y="486243"/>
                  <a:pt x="126697" y="486243"/>
                </a:cubicBezTo>
                <a:lnTo>
                  <a:pt x="337273" y="486251"/>
                </a:lnTo>
                <a:cubicBezTo>
                  <a:pt x="328134" y="506439"/>
                  <a:pt x="307814" y="520485"/>
                  <a:pt x="284212" y="520485"/>
                </a:cubicBezTo>
                <a:lnTo>
                  <a:pt x="126697" y="520485"/>
                </a:lnTo>
                <a:cubicBezTo>
                  <a:pt x="56725" y="520485"/>
                  <a:pt x="0" y="463761"/>
                  <a:pt x="0" y="393788"/>
                </a:cubicBezTo>
                <a:lnTo>
                  <a:pt x="0" y="126697"/>
                </a:lnTo>
                <a:cubicBezTo>
                  <a:pt x="0" y="103090"/>
                  <a:pt x="14052" y="82765"/>
                  <a:pt x="34248" y="73631"/>
                </a:cubicBezTo>
                <a:close/>
                <a:moveTo>
                  <a:pt x="229526" y="0"/>
                </a:moveTo>
                <a:cubicBezTo>
                  <a:pt x="244964" y="0"/>
                  <a:pt x="259770" y="6133"/>
                  <a:pt x="270688" y="17050"/>
                </a:cubicBezTo>
                <a:lnTo>
                  <a:pt x="393859" y="140221"/>
                </a:lnTo>
                <a:cubicBezTo>
                  <a:pt x="404776" y="151139"/>
                  <a:pt x="410909" y="165946"/>
                  <a:pt x="410909" y="181384"/>
                </a:cubicBezTo>
                <a:lnTo>
                  <a:pt x="410909" y="393788"/>
                </a:lnTo>
                <a:cubicBezTo>
                  <a:pt x="410909" y="425938"/>
                  <a:pt x="384847" y="452000"/>
                  <a:pt x="352697" y="452000"/>
                </a:cubicBezTo>
                <a:lnTo>
                  <a:pt x="126697" y="452000"/>
                </a:lnTo>
                <a:cubicBezTo>
                  <a:pt x="94548" y="452000"/>
                  <a:pt x="68485" y="425938"/>
                  <a:pt x="68485" y="393788"/>
                </a:cubicBezTo>
                <a:lnTo>
                  <a:pt x="68485" y="58212"/>
                </a:lnTo>
                <a:cubicBezTo>
                  <a:pt x="68485" y="26062"/>
                  <a:pt x="94548" y="0"/>
                  <a:pt x="126697" y="0"/>
                </a:cubicBezTo>
                <a:lnTo>
                  <a:pt x="229526" y="0"/>
                </a:lnTo>
                <a:close/>
                <a:moveTo>
                  <a:pt x="219152" y="34242"/>
                </a:moveTo>
                <a:lnTo>
                  <a:pt x="126697" y="34242"/>
                </a:lnTo>
                <a:cubicBezTo>
                  <a:pt x="113459" y="34242"/>
                  <a:pt x="102727" y="44974"/>
                  <a:pt x="102727" y="58212"/>
                </a:cubicBezTo>
                <a:lnTo>
                  <a:pt x="102727" y="393788"/>
                </a:lnTo>
                <a:cubicBezTo>
                  <a:pt x="102727" y="407026"/>
                  <a:pt x="113459" y="417758"/>
                  <a:pt x="126697" y="417758"/>
                </a:cubicBezTo>
                <a:lnTo>
                  <a:pt x="352697" y="417758"/>
                </a:lnTo>
                <a:cubicBezTo>
                  <a:pt x="365935" y="417758"/>
                  <a:pt x="376667" y="407026"/>
                  <a:pt x="376667" y="393788"/>
                </a:cubicBezTo>
                <a:lnTo>
                  <a:pt x="376667" y="191758"/>
                </a:lnTo>
                <a:lnTo>
                  <a:pt x="277364" y="191758"/>
                </a:lnTo>
                <a:cubicBezTo>
                  <a:pt x="246159" y="191758"/>
                  <a:pt x="220690" y="167206"/>
                  <a:pt x="219219" y="136366"/>
                </a:cubicBezTo>
                <a:lnTo>
                  <a:pt x="219152" y="133546"/>
                </a:lnTo>
                <a:lnTo>
                  <a:pt x="219152" y="34242"/>
                </a:lnTo>
                <a:close/>
                <a:moveTo>
                  <a:pt x="362723" y="157515"/>
                </a:moveTo>
                <a:lnTo>
                  <a:pt x="253394" y="48186"/>
                </a:lnTo>
                <a:lnTo>
                  <a:pt x="253394" y="133546"/>
                </a:lnTo>
                <a:cubicBezTo>
                  <a:pt x="253394" y="146122"/>
                  <a:pt x="263079" y="156436"/>
                  <a:pt x="275398" y="157436"/>
                </a:cubicBezTo>
                <a:lnTo>
                  <a:pt x="277364" y="157515"/>
                </a:lnTo>
                <a:lnTo>
                  <a:pt x="362723" y="157515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3600000" scaled="0"/>
          </a:gradFill>
          <a:ln w="1369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8" name="Graphic 41" descr="Flag&#10;Keyword: fluent-icon, outlook;&#10;Metaphor: urgent, important, look;&#10;&#10;Used in mail to mark as important.">
            <a:extLst>
              <a:ext uri="{FF2B5EF4-FFF2-40B4-BE49-F238E27FC236}">
                <a16:creationId xmlns:a16="http://schemas.microsoft.com/office/drawing/2014/main" id="{4FAE3372-E689-F03E-6C5C-FB46BD434A20}"/>
              </a:ext>
            </a:extLst>
          </p:cNvPr>
          <p:cNvSpPr/>
          <p:nvPr/>
        </p:nvSpPr>
        <p:spPr>
          <a:xfrm>
            <a:off x="3572564" y="746962"/>
            <a:ext cx="383540" cy="438303"/>
          </a:xfrm>
          <a:custGeom>
            <a:avLst/>
            <a:gdLst>
              <a:gd name="connsiteX0" fmla="*/ 34242 w 383540"/>
              <a:gd name="connsiteY0" fmla="*/ 34242 h 438303"/>
              <a:gd name="connsiteX1" fmla="*/ 336990 w 383540"/>
              <a:gd name="connsiteY1" fmla="*/ 34242 h 438303"/>
              <a:gd name="connsiteX2" fmla="*/ 279595 w 383540"/>
              <a:gd name="connsiteY2" fmla="*/ 135367 h 438303"/>
              <a:gd name="connsiteX3" fmla="*/ 279595 w 383540"/>
              <a:gd name="connsiteY3" fmla="*/ 152269 h 438303"/>
              <a:gd name="connsiteX4" fmla="*/ 336990 w 383540"/>
              <a:gd name="connsiteY4" fmla="*/ 253394 h 438303"/>
              <a:gd name="connsiteX5" fmla="*/ 34242 w 383540"/>
              <a:gd name="connsiteY5" fmla="*/ 253394 h 438303"/>
              <a:gd name="connsiteX6" fmla="*/ 34242 w 383540"/>
              <a:gd name="connsiteY6" fmla="*/ 34242 h 438303"/>
              <a:gd name="connsiteX7" fmla="*/ 34242 w 383540"/>
              <a:gd name="connsiteY7" fmla="*/ 287637 h 438303"/>
              <a:gd name="connsiteX8" fmla="*/ 366394 w 383540"/>
              <a:gd name="connsiteY8" fmla="*/ 287637 h 438303"/>
              <a:gd name="connsiteX9" fmla="*/ 381284 w 383540"/>
              <a:gd name="connsiteY9" fmla="*/ 262064 h 438303"/>
              <a:gd name="connsiteX10" fmla="*/ 314172 w 383540"/>
              <a:gd name="connsiteY10" fmla="*/ 143818 h 438303"/>
              <a:gd name="connsiteX11" fmla="*/ 381284 w 383540"/>
              <a:gd name="connsiteY11" fmla="*/ 25572 h 438303"/>
              <a:gd name="connsiteX12" fmla="*/ 366394 w 383540"/>
              <a:gd name="connsiteY12" fmla="*/ 0 h 438303"/>
              <a:gd name="connsiteX13" fmla="*/ 17121 w 383540"/>
              <a:gd name="connsiteY13" fmla="*/ 0 h 438303"/>
              <a:gd name="connsiteX14" fmla="*/ 0 w 383540"/>
              <a:gd name="connsiteY14" fmla="*/ 17121 h 438303"/>
              <a:gd name="connsiteX15" fmla="*/ 0 w 383540"/>
              <a:gd name="connsiteY15" fmla="*/ 421182 h 438303"/>
              <a:gd name="connsiteX16" fmla="*/ 17121 w 383540"/>
              <a:gd name="connsiteY16" fmla="*/ 438303 h 438303"/>
              <a:gd name="connsiteX17" fmla="*/ 34242 w 383540"/>
              <a:gd name="connsiteY17" fmla="*/ 421182 h 438303"/>
              <a:gd name="connsiteX18" fmla="*/ 34242 w 383540"/>
              <a:gd name="connsiteY18" fmla="*/ 287637 h 438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383540" h="438303">
                <a:moveTo>
                  <a:pt x="34242" y="34242"/>
                </a:moveTo>
                <a:lnTo>
                  <a:pt x="336990" y="34242"/>
                </a:lnTo>
                <a:lnTo>
                  <a:pt x="279595" y="135367"/>
                </a:lnTo>
                <a:cubicBezTo>
                  <a:pt x="276620" y="140609"/>
                  <a:pt x="276620" y="147027"/>
                  <a:pt x="279595" y="152269"/>
                </a:cubicBezTo>
                <a:lnTo>
                  <a:pt x="336990" y="253394"/>
                </a:lnTo>
                <a:lnTo>
                  <a:pt x="34242" y="253394"/>
                </a:lnTo>
                <a:lnTo>
                  <a:pt x="34242" y="34242"/>
                </a:lnTo>
                <a:close/>
                <a:moveTo>
                  <a:pt x="34242" y="287637"/>
                </a:moveTo>
                <a:lnTo>
                  <a:pt x="366394" y="287637"/>
                </a:lnTo>
                <a:cubicBezTo>
                  <a:pt x="379519" y="287637"/>
                  <a:pt x="387763" y="273478"/>
                  <a:pt x="381284" y="262064"/>
                </a:cubicBezTo>
                <a:lnTo>
                  <a:pt x="314172" y="143818"/>
                </a:lnTo>
                <a:lnTo>
                  <a:pt x="381284" y="25572"/>
                </a:lnTo>
                <a:cubicBezTo>
                  <a:pt x="387763" y="14159"/>
                  <a:pt x="379519" y="0"/>
                  <a:pt x="366394" y="0"/>
                </a:cubicBezTo>
                <a:lnTo>
                  <a:pt x="17121" y="0"/>
                </a:lnTo>
                <a:cubicBezTo>
                  <a:pt x="7665" y="0"/>
                  <a:pt x="0" y="7665"/>
                  <a:pt x="0" y="17121"/>
                </a:cubicBezTo>
                <a:lnTo>
                  <a:pt x="0" y="421182"/>
                </a:lnTo>
                <a:cubicBezTo>
                  <a:pt x="0" y="430639"/>
                  <a:pt x="7665" y="438303"/>
                  <a:pt x="17121" y="438303"/>
                </a:cubicBezTo>
                <a:cubicBezTo>
                  <a:pt x="26578" y="438303"/>
                  <a:pt x="34242" y="430639"/>
                  <a:pt x="34242" y="421182"/>
                </a:cubicBezTo>
                <a:lnTo>
                  <a:pt x="34242" y="287637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3600000" scaled="0"/>
          </a:gradFill>
          <a:ln w="1369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9" name="Graphic 42" descr="Fluent&#10;Keyword: fluent-icon;&#10;Metaphor: f, open source, design system;&#10;&#10;Fluent mark.">
            <a:extLst>
              <a:ext uri="{FF2B5EF4-FFF2-40B4-BE49-F238E27FC236}">
                <a16:creationId xmlns:a16="http://schemas.microsoft.com/office/drawing/2014/main" id="{64E3F672-146B-4DF1-4203-55D2C70C7ED6}"/>
              </a:ext>
            </a:extLst>
          </p:cNvPr>
          <p:cNvSpPr/>
          <p:nvPr/>
        </p:nvSpPr>
        <p:spPr>
          <a:xfrm>
            <a:off x="3599958" y="1955750"/>
            <a:ext cx="362970" cy="527309"/>
          </a:xfrm>
          <a:custGeom>
            <a:avLst/>
            <a:gdLst>
              <a:gd name="connsiteX0" fmla="*/ 183042 w 362970"/>
              <a:gd name="connsiteY0" fmla="*/ 5 h 527309"/>
              <a:gd name="connsiteX1" fmla="*/ 180088 w 362970"/>
              <a:gd name="connsiteY1" fmla="*/ 0 h 527309"/>
              <a:gd name="connsiteX2" fmla="*/ 178363 w 362970"/>
              <a:gd name="connsiteY2" fmla="*/ 227 h 527309"/>
              <a:gd name="connsiteX3" fmla="*/ 175494 w 362970"/>
              <a:gd name="connsiteY3" fmla="*/ 1010 h 527309"/>
              <a:gd name="connsiteX4" fmla="*/ 8570 w 362970"/>
              <a:gd name="connsiteY4" fmla="*/ 84408 h 527309"/>
              <a:gd name="connsiteX5" fmla="*/ 6157 w 362970"/>
              <a:gd name="connsiteY5" fmla="*/ 86080 h 527309"/>
              <a:gd name="connsiteX6" fmla="*/ 4004 w 362970"/>
              <a:gd name="connsiteY6" fmla="*/ 88243 h 527309"/>
              <a:gd name="connsiteX7" fmla="*/ 3901 w 362970"/>
              <a:gd name="connsiteY7" fmla="*/ 88369 h 527309"/>
              <a:gd name="connsiteX8" fmla="*/ 1835 w 362970"/>
              <a:gd name="connsiteY8" fmla="*/ 91538 h 527309"/>
              <a:gd name="connsiteX9" fmla="*/ 1405 w 362970"/>
              <a:gd name="connsiteY9" fmla="*/ 92453 h 527309"/>
              <a:gd name="connsiteX10" fmla="*/ 670 w 362970"/>
              <a:gd name="connsiteY10" fmla="*/ 94465 h 527309"/>
              <a:gd name="connsiteX11" fmla="*/ 51 w 362970"/>
              <a:gd name="connsiteY11" fmla="*/ 97714 h 527309"/>
              <a:gd name="connsiteX12" fmla="*/ 0 w 362970"/>
              <a:gd name="connsiteY12" fmla="*/ 414283 h 527309"/>
              <a:gd name="connsiteX13" fmla="*/ 8495 w 362970"/>
              <a:gd name="connsiteY13" fmla="*/ 429073 h 527309"/>
              <a:gd name="connsiteX14" fmla="*/ 172859 w 362970"/>
              <a:gd name="connsiteY14" fmla="*/ 524952 h 527309"/>
              <a:gd name="connsiteX15" fmla="*/ 198606 w 362970"/>
              <a:gd name="connsiteY15" fmla="*/ 510055 h 527309"/>
              <a:gd name="connsiteX16" fmla="*/ 197638 w 362970"/>
              <a:gd name="connsiteY16" fmla="*/ 355757 h 527309"/>
              <a:gd name="connsiteX17" fmla="*/ 353418 w 362970"/>
              <a:gd name="connsiteY17" fmla="*/ 278973 h 527309"/>
              <a:gd name="connsiteX18" fmla="*/ 353505 w 362970"/>
              <a:gd name="connsiteY18" fmla="*/ 248303 h 527309"/>
              <a:gd name="connsiteX19" fmla="*/ 219769 w 362970"/>
              <a:gd name="connsiteY19" fmla="*/ 181434 h 527309"/>
              <a:gd name="connsiteX20" fmla="*/ 353505 w 362970"/>
              <a:gd name="connsiteY20" fmla="*/ 114567 h 527309"/>
              <a:gd name="connsiteX21" fmla="*/ 353505 w 362970"/>
              <a:gd name="connsiteY21" fmla="*/ 83939 h 527309"/>
              <a:gd name="connsiteX22" fmla="*/ 189020 w 362970"/>
              <a:gd name="connsiteY22" fmla="*/ 1697 h 527309"/>
              <a:gd name="connsiteX23" fmla="*/ 186575 w 362970"/>
              <a:gd name="connsiteY23" fmla="*/ 708 h 527309"/>
              <a:gd name="connsiteX24" fmla="*/ 183042 w 362970"/>
              <a:gd name="connsiteY24" fmla="*/ 5 h 527309"/>
              <a:gd name="connsiteX25" fmla="*/ 34242 w 362970"/>
              <a:gd name="connsiteY25" fmla="*/ 291394 h 527309"/>
              <a:gd name="connsiteX26" fmla="*/ 163391 w 362970"/>
              <a:gd name="connsiteY26" fmla="*/ 356489 h 527309"/>
              <a:gd name="connsiteX27" fmla="*/ 164175 w 362970"/>
              <a:gd name="connsiteY27" fmla="*/ 480244 h 527309"/>
              <a:gd name="connsiteX28" fmla="*/ 34242 w 362970"/>
              <a:gd name="connsiteY28" fmla="*/ 404450 h 527309"/>
              <a:gd name="connsiteX29" fmla="*/ 34242 w 362970"/>
              <a:gd name="connsiteY29" fmla="*/ 291394 h 527309"/>
              <a:gd name="connsiteX30" fmla="*/ 164328 w 362970"/>
              <a:gd name="connsiteY30" fmla="*/ 318594 h 527309"/>
              <a:gd name="connsiteX31" fmla="*/ 55374 w 362970"/>
              <a:gd name="connsiteY31" fmla="*/ 263720 h 527309"/>
              <a:gd name="connsiteX32" fmla="*/ 164180 w 362970"/>
              <a:gd name="connsiteY32" fmla="*/ 209665 h 527309"/>
              <a:gd name="connsiteX33" fmla="*/ 164328 w 362970"/>
              <a:gd name="connsiteY33" fmla="*/ 318594 h 527309"/>
              <a:gd name="connsiteX34" fmla="*/ 307344 w 362970"/>
              <a:gd name="connsiteY34" fmla="*/ 263507 h 527309"/>
              <a:gd name="connsiteX35" fmla="*/ 198571 w 362970"/>
              <a:gd name="connsiteY35" fmla="*/ 317096 h 527309"/>
              <a:gd name="connsiteX36" fmla="*/ 198397 w 362970"/>
              <a:gd name="connsiteY36" fmla="*/ 209032 h 527309"/>
              <a:gd name="connsiteX37" fmla="*/ 307344 w 362970"/>
              <a:gd name="connsiteY37" fmla="*/ 263507 h 527309"/>
              <a:gd name="connsiteX38" fmla="*/ 34242 w 362970"/>
              <a:gd name="connsiteY38" fmla="*/ 235959 h 527309"/>
              <a:gd name="connsiteX39" fmla="*/ 34242 w 362970"/>
              <a:gd name="connsiteY39" fmla="*/ 127061 h 527309"/>
              <a:gd name="connsiteX40" fmla="*/ 142991 w 362970"/>
              <a:gd name="connsiteY40" fmla="*/ 181958 h 527309"/>
              <a:gd name="connsiteX41" fmla="*/ 34242 w 362970"/>
              <a:gd name="connsiteY41" fmla="*/ 235959 h 527309"/>
              <a:gd name="connsiteX42" fmla="*/ 164180 w 362970"/>
              <a:gd name="connsiteY42" fmla="*/ 154262 h 527309"/>
              <a:gd name="connsiteX43" fmla="*/ 55295 w 362970"/>
              <a:gd name="connsiteY43" fmla="*/ 99322 h 527309"/>
              <a:gd name="connsiteX44" fmla="*/ 164328 w 362970"/>
              <a:gd name="connsiteY44" fmla="*/ 44805 h 527309"/>
              <a:gd name="connsiteX45" fmla="*/ 164180 w 362970"/>
              <a:gd name="connsiteY45" fmla="*/ 154262 h 527309"/>
              <a:gd name="connsiteX46" fmla="*/ 198395 w 362970"/>
              <a:gd name="connsiteY46" fmla="*/ 153812 h 527309"/>
              <a:gd name="connsiteX47" fmla="*/ 198571 w 362970"/>
              <a:gd name="connsiteY47" fmla="*/ 44742 h 527309"/>
              <a:gd name="connsiteX48" fmla="*/ 307564 w 362970"/>
              <a:gd name="connsiteY48" fmla="*/ 99252 h 527309"/>
              <a:gd name="connsiteX49" fmla="*/ 198395 w 362970"/>
              <a:gd name="connsiteY49" fmla="*/ 153812 h 527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362970" h="527309">
                <a:moveTo>
                  <a:pt x="183042" y="5"/>
                </a:moveTo>
                <a:lnTo>
                  <a:pt x="180088" y="0"/>
                </a:lnTo>
                <a:lnTo>
                  <a:pt x="178363" y="227"/>
                </a:lnTo>
                <a:lnTo>
                  <a:pt x="175494" y="1010"/>
                </a:lnTo>
                <a:lnTo>
                  <a:pt x="8570" y="84408"/>
                </a:lnTo>
                <a:lnTo>
                  <a:pt x="6157" y="86080"/>
                </a:lnTo>
                <a:lnTo>
                  <a:pt x="4004" y="88243"/>
                </a:lnTo>
                <a:lnTo>
                  <a:pt x="3901" y="88369"/>
                </a:lnTo>
                <a:cubicBezTo>
                  <a:pt x="3112" y="89329"/>
                  <a:pt x="2416" y="90388"/>
                  <a:pt x="1835" y="91538"/>
                </a:cubicBezTo>
                <a:lnTo>
                  <a:pt x="1405" y="92453"/>
                </a:lnTo>
                <a:lnTo>
                  <a:pt x="670" y="94465"/>
                </a:lnTo>
                <a:lnTo>
                  <a:pt x="51" y="97714"/>
                </a:lnTo>
                <a:lnTo>
                  <a:pt x="0" y="414283"/>
                </a:lnTo>
                <a:cubicBezTo>
                  <a:pt x="0" y="420373"/>
                  <a:pt x="3234" y="426003"/>
                  <a:pt x="8495" y="429073"/>
                </a:cubicBezTo>
                <a:lnTo>
                  <a:pt x="172859" y="524952"/>
                </a:lnTo>
                <a:cubicBezTo>
                  <a:pt x="184313" y="531633"/>
                  <a:pt x="198688" y="523316"/>
                  <a:pt x="198606" y="510055"/>
                </a:cubicBezTo>
                <a:lnTo>
                  <a:pt x="197638" y="355757"/>
                </a:lnTo>
                <a:lnTo>
                  <a:pt x="353418" y="278973"/>
                </a:lnTo>
                <a:cubicBezTo>
                  <a:pt x="366113" y="272716"/>
                  <a:pt x="366165" y="254632"/>
                  <a:pt x="353505" y="248303"/>
                </a:cubicBezTo>
                <a:lnTo>
                  <a:pt x="219769" y="181434"/>
                </a:lnTo>
                <a:lnTo>
                  <a:pt x="353505" y="114567"/>
                </a:lnTo>
                <a:cubicBezTo>
                  <a:pt x="366124" y="108257"/>
                  <a:pt x="366124" y="90249"/>
                  <a:pt x="353505" y="83939"/>
                </a:cubicBezTo>
                <a:lnTo>
                  <a:pt x="189020" y="1697"/>
                </a:lnTo>
                <a:lnTo>
                  <a:pt x="186575" y="708"/>
                </a:lnTo>
                <a:lnTo>
                  <a:pt x="183042" y="5"/>
                </a:lnTo>
                <a:close/>
                <a:moveTo>
                  <a:pt x="34242" y="291394"/>
                </a:moveTo>
                <a:lnTo>
                  <a:pt x="163391" y="356489"/>
                </a:lnTo>
                <a:lnTo>
                  <a:pt x="164175" y="480244"/>
                </a:lnTo>
                <a:lnTo>
                  <a:pt x="34242" y="404450"/>
                </a:lnTo>
                <a:lnTo>
                  <a:pt x="34242" y="291394"/>
                </a:lnTo>
                <a:close/>
                <a:moveTo>
                  <a:pt x="164328" y="318594"/>
                </a:moveTo>
                <a:lnTo>
                  <a:pt x="55374" y="263720"/>
                </a:lnTo>
                <a:lnTo>
                  <a:pt x="164180" y="209665"/>
                </a:lnTo>
                <a:lnTo>
                  <a:pt x="164328" y="318594"/>
                </a:lnTo>
                <a:close/>
                <a:moveTo>
                  <a:pt x="307344" y="263507"/>
                </a:moveTo>
                <a:lnTo>
                  <a:pt x="198571" y="317096"/>
                </a:lnTo>
                <a:lnTo>
                  <a:pt x="198397" y="209032"/>
                </a:lnTo>
                <a:lnTo>
                  <a:pt x="307344" y="263507"/>
                </a:lnTo>
                <a:close/>
                <a:moveTo>
                  <a:pt x="34242" y="235959"/>
                </a:moveTo>
                <a:lnTo>
                  <a:pt x="34242" y="127061"/>
                </a:lnTo>
                <a:lnTo>
                  <a:pt x="142991" y="181958"/>
                </a:lnTo>
                <a:lnTo>
                  <a:pt x="34242" y="235959"/>
                </a:lnTo>
                <a:close/>
                <a:moveTo>
                  <a:pt x="164180" y="154262"/>
                </a:moveTo>
                <a:lnTo>
                  <a:pt x="55295" y="99322"/>
                </a:lnTo>
                <a:lnTo>
                  <a:pt x="164328" y="44805"/>
                </a:lnTo>
                <a:lnTo>
                  <a:pt x="164180" y="154262"/>
                </a:lnTo>
                <a:close/>
                <a:moveTo>
                  <a:pt x="198395" y="153812"/>
                </a:moveTo>
                <a:lnTo>
                  <a:pt x="198571" y="44742"/>
                </a:lnTo>
                <a:lnTo>
                  <a:pt x="307564" y="99252"/>
                </a:lnTo>
                <a:lnTo>
                  <a:pt x="198395" y="153812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3600000" scaled="0"/>
          </a:gradFill>
          <a:ln w="1369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0" name="Graphic 43" descr="Folder&#10;Keyword: fluent-icon;&#10;Metaphor: analog, collection;&#10;&#10;Used to represent collections of files.">
            <a:extLst>
              <a:ext uri="{FF2B5EF4-FFF2-40B4-BE49-F238E27FC236}">
                <a16:creationId xmlns:a16="http://schemas.microsoft.com/office/drawing/2014/main" id="{C7C927C1-694C-44F4-5335-A2DBC5D29CAF}"/>
              </a:ext>
            </a:extLst>
          </p:cNvPr>
          <p:cNvSpPr/>
          <p:nvPr/>
        </p:nvSpPr>
        <p:spPr>
          <a:xfrm>
            <a:off x="6282652" y="4431398"/>
            <a:ext cx="547879" cy="410909"/>
          </a:xfrm>
          <a:custGeom>
            <a:avLst/>
            <a:gdLst>
              <a:gd name="connsiteX0" fmla="*/ 178892 w 547879"/>
              <a:gd name="connsiteY0" fmla="*/ 0 h 410909"/>
              <a:gd name="connsiteX1" fmla="*/ 210320 w 547879"/>
              <a:gd name="connsiteY1" fmla="*/ 10737 h 410909"/>
              <a:gd name="connsiteX2" fmla="*/ 212715 w 547879"/>
              <a:gd name="connsiteY2" fmla="*/ 12709 h 410909"/>
              <a:gd name="connsiteX3" fmla="*/ 248137 w 547879"/>
              <a:gd name="connsiteY3" fmla="*/ 43703 h 410909"/>
              <a:gd name="connsiteX4" fmla="*/ 257354 w 547879"/>
              <a:gd name="connsiteY4" fmla="*/ 47815 h 410909"/>
              <a:gd name="connsiteX5" fmla="*/ 259411 w 547879"/>
              <a:gd name="connsiteY5" fmla="*/ 47939 h 410909"/>
              <a:gd name="connsiteX6" fmla="*/ 496516 w 547879"/>
              <a:gd name="connsiteY6" fmla="*/ 47939 h 410909"/>
              <a:gd name="connsiteX7" fmla="*/ 547808 w 547879"/>
              <a:gd name="connsiteY7" fmla="*/ 96575 h 410909"/>
              <a:gd name="connsiteX8" fmla="*/ 547879 w 547879"/>
              <a:gd name="connsiteY8" fmla="*/ 99303 h 410909"/>
              <a:gd name="connsiteX9" fmla="*/ 547879 w 547879"/>
              <a:gd name="connsiteY9" fmla="*/ 359546 h 410909"/>
              <a:gd name="connsiteX10" fmla="*/ 499244 w 547879"/>
              <a:gd name="connsiteY10" fmla="*/ 410838 h 410909"/>
              <a:gd name="connsiteX11" fmla="*/ 496516 w 547879"/>
              <a:gd name="connsiteY11" fmla="*/ 410909 h 410909"/>
              <a:gd name="connsiteX12" fmla="*/ 51364 w 547879"/>
              <a:gd name="connsiteY12" fmla="*/ 410909 h 410909"/>
              <a:gd name="connsiteX13" fmla="*/ 71 w 547879"/>
              <a:gd name="connsiteY13" fmla="*/ 362274 h 410909"/>
              <a:gd name="connsiteX14" fmla="*/ 0 w 547879"/>
              <a:gd name="connsiteY14" fmla="*/ 359546 h 410909"/>
              <a:gd name="connsiteX15" fmla="*/ 0 w 547879"/>
              <a:gd name="connsiteY15" fmla="*/ 51364 h 410909"/>
              <a:gd name="connsiteX16" fmla="*/ 48636 w 547879"/>
              <a:gd name="connsiteY16" fmla="*/ 71 h 410909"/>
              <a:gd name="connsiteX17" fmla="*/ 51364 w 547879"/>
              <a:gd name="connsiteY17" fmla="*/ 0 h 410909"/>
              <a:gd name="connsiteX18" fmla="*/ 178892 w 547879"/>
              <a:gd name="connsiteY18" fmla="*/ 0 h 410909"/>
              <a:gd name="connsiteX19" fmla="*/ 258152 w 547879"/>
              <a:gd name="connsiteY19" fmla="*/ 82167 h 410909"/>
              <a:gd name="connsiteX20" fmla="*/ 229020 w 547879"/>
              <a:gd name="connsiteY20" fmla="*/ 117995 h 410909"/>
              <a:gd name="connsiteX21" fmla="*/ 192237 w 547879"/>
              <a:gd name="connsiteY21" fmla="*/ 136878 h 410909"/>
              <a:gd name="connsiteX22" fmla="*/ 189157 w 547879"/>
              <a:gd name="connsiteY22" fmla="*/ 136970 h 410909"/>
              <a:gd name="connsiteX23" fmla="*/ 34242 w 547879"/>
              <a:gd name="connsiteY23" fmla="*/ 136956 h 410909"/>
              <a:gd name="connsiteX24" fmla="*/ 34242 w 547879"/>
              <a:gd name="connsiteY24" fmla="*/ 359546 h 410909"/>
              <a:gd name="connsiteX25" fmla="*/ 49613 w 547879"/>
              <a:gd name="connsiteY25" fmla="*/ 376578 h 410909"/>
              <a:gd name="connsiteX26" fmla="*/ 51364 w 547879"/>
              <a:gd name="connsiteY26" fmla="*/ 376667 h 410909"/>
              <a:gd name="connsiteX27" fmla="*/ 496516 w 547879"/>
              <a:gd name="connsiteY27" fmla="*/ 376667 h 410909"/>
              <a:gd name="connsiteX28" fmla="*/ 513548 w 547879"/>
              <a:gd name="connsiteY28" fmla="*/ 361296 h 410909"/>
              <a:gd name="connsiteX29" fmla="*/ 513637 w 547879"/>
              <a:gd name="connsiteY29" fmla="*/ 359546 h 410909"/>
              <a:gd name="connsiteX30" fmla="*/ 513637 w 547879"/>
              <a:gd name="connsiteY30" fmla="*/ 99303 h 410909"/>
              <a:gd name="connsiteX31" fmla="*/ 498266 w 547879"/>
              <a:gd name="connsiteY31" fmla="*/ 82271 h 410909"/>
              <a:gd name="connsiteX32" fmla="*/ 496516 w 547879"/>
              <a:gd name="connsiteY32" fmla="*/ 82182 h 410909"/>
              <a:gd name="connsiteX33" fmla="*/ 258152 w 547879"/>
              <a:gd name="connsiteY33" fmla="*/ 82167 h 410909"/>
              <a:gd name="connsiteX34" fmla="*/ 178892 w 547879"/>
              <a:gd name="connsiteY34" fmla="*/ 34242 h 410909"/>
              <a:gd name="connsiteX35" fmla="*/ 51364 w 547879"/>
              <a:gd name="connsiteY35" fmla="*/ 34242 h 410909"/>
              <a:gd name="connsiteX36" fmla="*/ 34331 w 547879"/>
              <a:gd name="connsiteY36" fmla="*/ 49613 h 410909"/>
              <a:gd name="connsiteX37" fmla="*/ 34242 w 547879"/>
              <a:gd name="connsiteY37" fmla="*/ 51364 h 410909"/>
              <a:gd name="connsiteX38" fmla="*/ 34242 w 547879"/>
              <a:gd name="connsiteY38" fmla="*/ 102714 h 410909"/>
              <a:gd name="connsiteX39" fmla="*/ 189157 w 547879"/>
              <a:gd name="connsiteY39" fmla="*/ 102727 h 410909"/>
              <a:gd name="connsiteX40" fmla="*/ 201151 w 547879"/>
              <a:gd name="connsiteY40" fmla="*/ 97824 h 410909"/>
              <a:gd name="connsiteX41" fmla="*/ 202444 w 547879"/>
              <a:gd name="connsiteY41" fmla="*/ 96402 h 410909"/>
              <a:gd name="connsiteX42" fmla="*/ 224836 w 547879"/>
              <a:gd name="connsiteY42" fmla="*/ 68827 h 410909"/>
              <a:gd name="connsiteX43" fmla="*/ 190166 w 547879"/>
              <a:gd name="connsiteY43" fmla="*/ 38479 h 410909"/>
              <a:gd name="connsiteX44" fmla="*/ 180949 w 547879"/>
              <a:gd name="connsiteY44" fmla="*/ 34367 h 410909"/>
              <a:gd name="connsiteX45" fmla="*/ 178892 w 547879"/>
              <a:gd name="connsiteY45" fmla="*/ 34242 h 410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547879" h="410909">
                <a:moveTo>
                  <a:pt x="178892" y="0"/>
                </a:moveTo>
                <a:cubicBezTo>
                  <a:pt x="190296" y="0"/>
                  <a:pt x="201346" y="3794"/>
                  <a:pt x="210320" y="10737"/>
                </a:cubicBezTo>
                <a:lnTo>
                  <a:pt x="212715" y="12709"/>
                </a:lnTo>
                <a:lnTo>
                  <a:pt x="248137" y="43703"/>
                </a:lnTo>
                <a:cubicBezTo>
                  <a:pt x="250738" y="45979"/>
                  <a:pt x="253954" y="47404"/>
                  <a:pt x="257354" y="47815"/>
                </a:cubicBezTo>
                <a:lnTo>
                  <a:pt x="259411" y="47939"/>
                </a:lnTo>
                <a:lnTo>
                  <a:pt x="496516" y="47939"/>
                </a:lnTo>
                <a:cubicBezTo>
                  <a:pt x="523968" y="47939"/>
                  <a:pt x="546390" y="69477"/>
                  <a:pt x="547808" y="96575"/>
                </a:cubicBezTo>
                <a:lnTo>
                  <a:pt x="547879" y="99303"/>
                </a:lnTo>
                <a:lnTo>
                  <a:pt x="547879" y="359546"/>
                </a:lnTo>
                <a:cubicBezTo>
                  <a:pt x="547879" y="386999"/>
                  <a:pt x="526342" y="409421"/>
                  <a:pt x="499244" y="410838"/>
                </a:cubicBezTo>
                <a:lnTo>
                  <a:pt x="496516" y="410909"/>
                </a:lnTo>
                <a:lnTo>
                  <a:pt x="51364" y="410909"/>
                </a:lnTo>
                <a:cubicBezTo>
                  <a:pt x="23911" y="410909"/>
                  <a:pt x="1489" y="389372"/>
                  <a:pt x="71" y="362274"/>
                </a:cubicBezTo>
                <a:lnTo>
                  <a:pt x="0" y="359546"/>
                </a:lnTo>
                <a:lnTo>
                  <a:pt x="0" y="51364"/>
                </a:lnTo>
                <a:cubicBezTo>
                  <a:pt x="0" y="23911"/>
                  <a:pt x="21537" y="1489"/>
                  <a:pt x="48636" y="71"/>
                </a:cubicBezTo>
                <a:lnTo>
                  <a:pt x="51364" y="0"/>
                </a:lnTo>
                <a:lnTo>
                  <a:pt x="178892" y="0"/>
                </a:lnTo>
                <a:close/>
                <a:moveTo>
                  <a:pt x="258152" y="82167"/>
                </a:moveTo>
                <a:lnTo>
                  <a:pt x="229020" y="117995"/>
                </a:lnTo>
                <a:cubicBezTo>
                  <a:pt x="219917" y="129199"/>
                  <a:pt x="206555" y="136018"/>
                  <a:pt x="192237" y="136878"/>
                </a:cubicBezTo>
                <a:lnTo>
                  <a:pt x="189157" y="136970"/>
                </a:lnTo>
                <a:lnTo>
                  <a:pt x="34242" y="136956"/>
                </a:lnTo>
                <a:lnTo>
                  <a:pt x="34242" y="359546"/>
                </a:lnTo>
                <a:cubicBezTo>
                  <a:pt x="34242" y="368410"/>
                  <a:pt x="40980" y="375701"/>
                  <a:pt x="49613" y="376578"/>
                </a:cubicBezTo>
                <a:lnTo>
                  <a:pt x="51364" y="376667"/>
                </a:lnTo>
                <a:lnTo>
                  <a:pt x="496516" y="376667"/>
                </a:lnTo>
                <a:cubicBezTo>
                  <a:pt x="505380" y="376667"/>
                  <a:pt x="512671" y="369929"/>
                  <a:pt x="513548" y="361296"/>
                </a:cubicBezTo>
                <a:lnTo>
                  <a:pt x="513637" y="359546"/>
                </a:lnTo>
                <a:lnTo>
                  <a:pt x="513637" y="99303"/>
                </a:lnTo>
                <a:cubicBezTo>
                  <a:pt x="513637" y="90438"/>
                  <a:pt x="506899" y="83148"/>
                  <a:pt x="498266" y="82271"/>
                </a:cubicBezTo>
                <a:lnTo>
                  <a:pt x="496516" y="82182"/>
                </a:lnTo>
                <a:lnTo>
                  <a:pt x="258152" y="82167"/>
                </a:lnTo>
                <a:close/>
                <a:moveTo>
                  <a:pt x="178892" y="34242"/>
                </a:moveTo>
                <a:lnTo>
                  <a:pt x="51364" y="34242"/>
                </a:lnTo>
                <a:cubicBezTo>
                  <a:pt x="42499" y="34242"/>
                  <a:pt x="35208" y="40980"/>
                  <a:pt x="34331" y="49613"/>
                </a:cubicBezTo>
                <a:lnTo>
                  <a:pt x="34242" y="51364"/>
                </a:lnTo>
                <a:lnTo>
                  <a:pt x="34242" y="102714"/>
                </a:lnTo>
                <a:lnTo>
                  <a:pt x="189157" y="102727"/>
                </a:lnTo>
                <a:cubicBezTo>
                  <a:pt x="193667" y="102727"/>
                  <a:pt x="197968" y="100948"/>
                  <a:pt x="201151" y="97824"/>
                </a:cubicBezTo>
                <a:lnTo>
                  <a:pt x="202444" y="96402"/>
                </a:lnTo>
                <a:lnTo>
                  <a:pt x="224836" y="68827"/>
                </a:lnTo>
                <a:lnTo>
                  <a:pt x="190166" y="38479"/>
                </a:lnTo>
                <a:cubicBezTo>
                  <a:pt x="187565" y="36202"/>
                  <a:pt x="184349" y="34778"/>
                  <a:pt x="180949" y="34367"/>
                </a:cubicBezTo>
                <a:lnTo>
                  <a:pt x="178892" y="34242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3600000" scaled="0"/>
          </a:gradFill>
          <a:ln w="1369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1" name="Graphic 44" descr="Folder Add&#10;Keyword: fluent-icon;&#10;Metaphor: analog, collection, plus, new;&#10;&#10;Used to represent collections of files.">
            <a:extLst>
              <a:ext uri="{FF2B5EF4-FFF2-40B4-BE49-F238E27FC236}">
                <a16:creationId xmlns:a16="http://schemas.microsoft.com/office/drawing/2014/main" id="{430C8F4E-0DD0-E8C4-6529-99B3B6083618}"/>
              </a:ext>
            </a:extLst>
          </p:cNvPr>
          <p:cNvSpPr/>
          <p:nvPr/>
        </p:nvSpPr>
        <p:spPr>
          <a:xfrm>
            <a:off x="7225361" y="4431398"/>
            <a:ext cx="575273" cy="465697"/>
          </a:xfrm>
          <a:custGeom>
            <a:avLst/>
            <a:gdLst>
              <a:gd name="connsiteX0" fmla="*/ 178892 w 575273"/>
              <a:gd name="connsiteY0" fmla="*/ 0 h 465697"/>
              <a:gd name="connsiteX1" fmla="*/ 210320 w 575273"/>
              <a:gd name="connsiteY1" fmla="*/ 10737 h 465697"/>
              <a:gd name="connsiteX2" fmla="*/ 212715 w 575273"/>
              <a:gd name="connsiteY2" fmla="*/ 12709 h 465697"/>
              <a:gd name="connsiteX3" fmla="*/ 248137 w 575273"/>
              <a:gd name="connsiteY3" fmla="*/ 43703 h 465697"/>
              <a:gd name="connsiteX4" fmla="*/ 257354 w 575273"/>
              <a:gd name="connsiteY4" fmla="*/ 47815 h 465697"/>
              <a:gd name="connsiteX5" fmla="*/ 259411 w 575273"/>
              <a:gd name="connsiteY5" fmla="*/ 47939 h 465697"/>
              <a:gd name="connsiteX6" fmla="*/ 496516 w 575273"/>
              <a:gd name="connsiteY6" fmla="*/ 47939 h 465697"/>
              <a:gd name="connsiteX7" fmla="*/ 547808 w 575273"/>
              <a:gd name="connsiteY7" fmla="*/ 96575 h 465697"/>
              <a:gd name="connsiteX8" fmla="*/ 547879 w 575273"/>
              <a:gd name="connsiteY8" fmla="*/ 99303 h 465697"/>
              <a:gd name="connsiteX9" fmla="*/ 547892 w 575273"/>
              <a:gd name="connsiteY9" fmla="*/ 206227 h 465697"/>
              <a:gd name="connsiteX10" fmla="*/ 513646 w 575273"/>
              <a:gd name="connsiteY10" fmla="*/ 182611 h 465697"/>
              <a:gd name="connsiteX11" fmla="*/ 513637 w 575273"/>
              <a:gd name="connsiteY11" fmla="*/ 99303 h 465697"/>
              <a:gd name="connsiteX12" fmla="*/ 498266 w 575273"/>
              <a:gd name="connsiteY12" fmla="*/ 82271 h 465697"/>
              <a:gd name="connsiteX13" fmla="*/ 496516 w 575273"/>
              <a:gd name="connsiteY13" fmla="*/ 82182 h 465697"/>
              <a:gd name="connsiteX14" fmla="*/ 258152 w 575273"/>
              <a:gd name="connsiteY14" fmla="*/ 82167 h 465697"/>
              <a:gd name="connsiteX15" fmla="*/ 229020 w 575273"/>
              <a:gd name="connsiteY15" fmla="*/ 117995 h 465697"/>
              <a:gd name="connsiteX16" fmla="*/ 192237 w 575273"/>
              <a:gd name="connsiteY16" fmla="*/ 136878 h 465697"/>
              <a:gd name="connsiteX17" fmla="*/ 189157 w 575273"/>
              <a:gd name="connsiteY17" fmla="*/ 136970 h 465697"/>
              <a:gd name="connsiteX18" fmla="*/ 34242 w 575273"/>
              <a:gd name="connsiteY18" fmla="*/ 136956 h 465697"/>
              <a:gd name="connsiteX19" fmla="*/ 34242 w 575273"/>
              <a:gd name="connsiteY19" fmla="*/ 359546 h 465697"/>
              <a:gd name="connsiteX20" fmla="*/ 49613 w 575273"/>
              <a:gd name="connsiteY20" fmla="*/ 376578 h 465697"/>
              <a:gd name="connsiteX21" fmla="*/ 51364 w 575273"/>
              <a:gd name="connsiteY21" fmla="*/ 376667 h 465697"/>
              <a:gd name="connsiteX22" fmla="*/ 281043 w 575273"/>
              <a:gd name="connsiteY22" fmla="*/ 376674 h 465697"/>
              <a:gd name="connsiteX23" fmla="*/ 295937 w 575273"/>
              <a:gd name="connsiteY23" fmla="*/ 410924 h 465697"/>
              <a:gd name="connsiteX24" fmla="*/ 51364 w 575273"/>
              <a:gd name="connsiteY24" fmla="*/ 410909 h 465697"/>
              <a:gd name="connsiteX25" fmla="*/ 71 w 575273"/>
              <a:gd name="connsiteY25" fmla="*/ 362274 h 465697"/>
              <a:gd name="connsiteX26" fmla="*/ 0 w 575273"/>
              <a:gd name="connsiteY26" fmla="*/ 359546 h 465697"/>
              <a:gd name="connsiteX27" fmla="*/ 0 w 575273"/>
              <a:gd name="connsiteY27" fmla="*/ 51364 h 465697"/>
              <a:gd name="connsiteX28" fmla="*/ 48636 w 575273"/>
              <a:gd name="connsiteY28" fmla="*/ 71 h 465697"/>
              <a:gd name="connsiteX29" fmla="*/ 51364 w 575273"/>
              <a:gd name="connsiteY29" fmla="*/ 0 h 465697"/>
              <a:gd name="connsiteX30" fmla="*/ 178892 w 575273"/>
              <a:gd name="connsiteY30" fmla="*/ 0 h 465697"/>
              <a:gd name="connsiteX31" fmla="*/ 178892 w 575273"/>
              <a:gd name="connsiteY31" fmla="*/ 34242 h 465697"/>
              <a:gd name="connsiteX32" fmla="*/ 51364 w 575273"/>
              <a:gd name="connsiteY32" fmla="*/ 34242 h 465697"/>
              <a:gd name="connsiteX33" fmla="*/ 34331 w 575273"/>
              <a:gd name="connsiteY33" fmla="*/ 49613 h 465697"/>
              <a:gd name="connsiteX34" fmla="*/ 34242 w 575273"/>
              <a:gd name="connsiteY34" fmla="*/ 51364 h 465697"/>
              <a:gd name="connsiteX35" fmla="*/ 34242 w 575273"/>
              <a:gd name="connsiteY35" fmla="*/ 102714 h 465697"/>
              <a:gd name="connsiteX36" fmla="*/ 189157 w 575273"/>
              <a:gd name="connsiteY36" fmla="*/ 102727 h 465697"/>
              <a:gd name="connsiteX37" fmla="*/ 201151 w 575273"/>
              <a:gd name="connsiteY37" fmla="*/ 97824 h 465697"/>
              <a:gd name="connsiteX38" fmla="*/ 202444 w 575273"/>
              <a:gd name="connsiteY38" fmla="*/ 96402 h 465697"/>
              <a:gd name="connsiteX39" fmla="*/ 224836 w 575273"/>
              <a:gd name="connsiteY39" fmla="*/ 68827 h 465697"/>
              <a:gd name="connsiteX40" fmla="*/ 190166 w 575273"/>
              <a:gd name="connsiteY40" fmla="*/ 38479 h 465697"/>
              <a:gd name="connsiteX41" fmla="*/ 180949 w 575273"/>
              <a:gd name="connsiteY41" fmla="*/ 34367 h 465697"/>
              <a:gd name="connsiteX42" fmla="*/ 178892 w 575273"/>
              <a:gd name="connsiteY42" fmla="*/ 34242 h 465697"/>
              <a:gd name="connsiteX43" fmla="*/ 438303 w 575273"/>
              <a:gd name="connsiteY43" fmla="*/ 191758 h 465697"/>
              <a:gd name="connsiteX44" fmla="*/ 575273 w 575273"/>
              <a:gd name="connsiteY44" fmla="*/ 328728 h 465697"/>
              <a:gd name="connsiteX45" fmla="*/ 438303 w 575273"/>
              <a:gd name="connsiteY45" fmla="*/ 465697 h 465697"/>
              <a:gd name="connsiteX46" fmla="*/ 301334 w 575273"/>
              <a:gd name="connsiteY46" fmla="*/ 328728 h 465697"/>
              <a:gd name="connsiteX47" fmla="*/ 438303 w 575273"/>
              <a:gd name="connsiteY47" fmla="*/ 191758 h 465697"/>
              <a:gd name="connsiteX48" fmla="*/ 438303 w 575273"/>
              <a:gd name="connsiteY48" fmla="*/ 246546 h 465697"/>
              <a:gd name="connsiteX49" fmla="*/ 424698 w 575273"/>
              <a:gd name="connsiteY49" fmla="*/ 258646 h 465697"/>
              <a:gd name="connsiteX50" fmla="*/ 424606 w 575273"/>
              <a:gd name="connsiteY50" fmla="*/ 260243 h 465697"/>
              <a:gd name="connsiteX51" fmla="*/ 424606 w 575273"/>
              <a:gd name="connsiteY51" fmla="*/ 315031 h 465697"/>
              <a:gd name="connsiteX52" fmla="*/ 369818 w 575273"/>
              <a:gd name="connsiteY52" fmla="*/ 315031 h 465697"/>
              <a:gd name="connsiteX53" fmla="*/ 356213 w 575273"/>
              <a:gd name="connsiteY53" fmla="*/ 327130 h 465697"/>
              <a:gd name="connsiteX54" fmla="*/ 356121 w 575273"/>
              <a:gd name="connsiteY54" fmla="*/ 328728 h 465697"/>
              <a:gd name="connsiteX55" fmla="*/ 368221 w 575273"/>
              <a:gd name="connsiteY55" fmla="*/ 342333 h 465697"/>
              <a:gd name="connsiteX56" fmla="*/ 369818 w 575273"/>
              <a:gd name="connsiteY56" fmla="*/ 342424 h 465697"/>
              <a:gd name="connsiteX57" fmla="*/ 424606 w 575273"/>
              <a:gd name="connsiteY57" fmla="*/ 342424 h 465697"/>
              <a:gd name="connsiteX58" fmla="*/ 424606 w 575273"/>
              <a:gd name="connsiteY58" fmla="*/ 397212 h 465697"/>
              <a:gd name="connsiteX59" fmla="*/ 436706 w 575273"/>
              <a:gd name="connsiteY59" fmla="*/ 410818 h 465697"/>
              <a:gd name="connsiteX60" fmla="*/ 438303 w 575273"/>
              <a:gd name="connsiteY60" fmla="*/ 410909 h 465697"/>
              <a:gd name="connsiteX61" fmla="*/ 451909 w 575273"/>
              <a:gd name="connsiteY61" fmla="*/ 398809 h 465697"/>
              <a:gd name="connsiteX62" fmla="*/ 452000 w 575273"/>
              <a:gd name="connsiteY62" fmla="*/ 397212 h 465697"/>
              <a:gd name="connsiteX63" fmla="*/ 452000 w 575273"/>
              <a:gd name="connsiteY63" fmla="*/ 342424 h 465697"/>
              <a:gd name="connsiteX64" fmla="*/ 506788 w 575273"/>
              <a:gd name="connsiteY64" fmla="*/ 342424 h 465697"/>
              <a:gd name="connsiteX65" fmla="*/ 520393 w 575273"/>
              <a:gd name="connsiteY65" fmla="*/ 330325 h 465697"/>
              <a:gd name="connsiteX66" fmla="*/ 520485 w 575273"/>
              <a:gd name="connsiteY66" fmla="*/ 328728 h 465697"/>
              <a:gd name="connsiteX67" fmla="*/ 508385 w 575273"/>
              <a:gd name="connsiteY67" fmla="*/ 315122 h 465697"/>
              <a:gd name="connsiteX68" fmla="*/ 506788 w 575273"/>
              <a:gd name="connsiteY68" fmla="*/ 315031 h 465697"/>
              <a:gd name="connsiteX69" fmla="*/ 452000 w 575273"/>
              <a:gd name="connsiteY69" fmla="*/ 315031 h 465697"/>
              <a:gd name="connsiteX70" fmla="*/ 452000 w 575273"/>
              <a:gd name="connsiteY70" fmla="*/ 260243 h 465697"/>
              <a:gd name="connsiteX71" fmla="*/ 439900 w 575273"/>
              <a:gd name="connsiteY71" fmla="*/ 246637 h 465697"/>
              <a:gd name="connsiteX72" fmla="*/ 438303 w 575273"/>
              <a:gd name="connsiteY72" fmla="*/ 246546 h 465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</a:cxnLst>
            <a:rect l="l" t="t" r="r" b="b"/>
            <a:pathLst>
              <a:path w="575273" h="465697">
                <a:moveTo>
                  <a:pt x="178892" y="0"/>
                </a:moveTo>
                <a:cubicBezTo>
                  <a:pt x="190296" y="0"/>
                  <a:pt x="201346" y="3794"/>
                  <a:pt x="210320" y="10737"/>
                </a:cubicBezTo>
                <a:lnTo>
                  <a:pt x="212715" y="12709"/>
                </a:lnTo>
                <a:lnTo>
                  <a:pt x="248137" y="43703"/>
                </a:lnTo>
                <a:cubicBezTo>
                  <a:pt x="250738" y="45979"/>
                  <a:pt x="253954" y="47404"/>
                  <a:pt x="257354" y="47815"/>
                </a:cubicBezTo>
                <a:lnTo>
                  <a:pt x="259411" y="47939"/>
                </a:lnTo>
                <a:lnTo>
                  <a:pt x="496516" y="47939"/>
                </a:lnTo>
                <a:cubicBezTo>
                  <a:pt x="523968" y="47939"/>
                  <a:pt x="546390" y="69477"/>
                  <a:pt x="547808" y="96575"/>
                </a:cubicBezTo>
                <a:lnTo>
                  <a:pt x="547879" y="99303"/>
                </a:lnTo>
                <a:lnTo>
                  <a:pt x="547892" y="206227"/>
                </a:lnTo>
                <a:cubicBezTo>
                  <a:pt x="537568" y="196984"/>
                  <a:pt x="526068" y="189029"/>
                  <a:pt x="513646" y="182611"/>
                </a:cubicBezTo>
                <a:lnTo>
                  <a:pt x="513637" y="99303"/>
                </a:lnTo>
                <a:cubicBezTo>
                  <a:pt x="513637" y="90438"/>
                  <a:pt x="506899" y="83148"/>
                  <a:pt x="498266" y="82271"/>
                </a:cubicBezTo>
                <a:lnTo>
                  <a:pt x="496516" y="82182"/>
                </a:lnTo>
                <a:lnTo>
                  <a:pt x="258152" y="82167"/>
                </a:lnTo>
                <a:lnTo>
                  <a:pt x="229020" y="117995"/>
                </a:lnTo>
                <a:cubicBezTo>
                  <a:pt x="219917" y="129199"/>
                  <a:pt x="206555" y="136018"/>
                  <a:pt x="192237" y="136878"/>
                </a:cubicBezTo>
                <a:lnTo>
                  <a:pt x="189157" y="136970"/>
                </a:lnTo>
                <a:lnTo>
                  <a:pt x="34242" y="136956"/>
                </a:lnTo>
                <a:lnTo>
                  <a:pt x="34242" y="359546"/>
                </a:lnTo>
                <a:cubicBezTo>
                  <a:pt x="34242" y="368410"/>
                  <a:pt x="40980" y="375701"/>
                  <a:pt x="49613" y="376578"/>
                </a:cubicBezTo>
                <a:lnTo>
                  <a:pt x="51364" y="376667"/>
                </a:lnTo>
                <a:lnTo>
                  <a:pt x="281043" y="376674"/>
                </a:lnTo>
                <a:cubicBezTo>
                  <a:pt x="284716" y="388737"/>
                  <a:pt x="289739" y="400212"/>
                  <a:pt x="295937" y="410924"/>
                </a:cubicBezTo>
                <a:lnTo>
                  <a:pt x="51364" y="410909"/>
                </a:lnTo>
                <a:cubicBezTo>
                  <a:pt x="23911" y="410909"/>
                  <a:pt x="1489" y="389372"/>
                  <a:pt x="71" y="362274"/>
                </a:cubicBezTo>
                <a:lnTo>
                  <a:pt x="0" y="359546"/>
                </a:lnTo>
                <a:lnTo>
                  <a:pt x="0" y="51364"/>
                </a:lnTo>
                <a:cubicBezTo>
                  <a:pt x="0" y="23911"/>
                  <a:pt x="21537" y="1489"/>
                  <a:pt x="48636" y="71"/>
                </a:cubicBezTo>
                <a:lnTo>
                  <a:pt x="51364" y="0"/>
                </a:lnTo>
                <a:lnTo>
                  <a:pt x="178892" y="0"/>
                </a:lnTo>
                <a:close/>
                <a:moveTo>
                  <a:pt x="178892" y="34242"/>
                </a:moveTo>
                <a:lnTo>
                  <a:pt x="51364" y="34242"/>
                </a:lnTo>
                <a:cubicBezTo>
                  <a:pt x="42499" y="34242"/>
                  <a:pt x="35208" y="40980"/>
                  <a:pt x="34331" y="49613"/>
                </a:cubicBezTo>
                <a:lnTo>
                  <a:pt x="34242" y="51364"/>
                </a:lnTo>
                <a:lnTo>
                  <a:pt x="34242" y="102714"/>
                </a:lnTo>
                <a:lnTo>
                  <a:pt x="189157" y="102727"/>
                </a:lnTo>
                <a:cubicBezTo>
                  <a:pt x="193667" y="102727"/>
                  <a:pt x="197968" y="100948"/>
                  <a:pt x="201151" y="97824"/>
                </a:cubicBezTo>
                <a:lnTo>
                  <a:pt x="202444" y="96402"/>
                </a:lnTo>
                <a:lnTo>
                  <a:pt x="224836" y="68827"/>
                </a:lnTo>
                <a:lnTo>
                  <a:pt x="190166" y="38479"/>
                </a:lnTo>
                <a:cubicBezTo>
                  <a:pt x="187565" y="36202"/>
                  <a:pt x="184349" y="34778"/>
                  <a:pt x="180949" y="34367"/>
                </a:cubicBezTo>
                <a:lnTo>
                  <a:pt x="178892" y="34242"/>
                </a:lnTo>
                <a:close/>
                <a:moveTo>
                  <a:pt x="438303" y="191758"/>
                </a:moveTo>
                <a:cubicBezTo>
                  <a:pt x="513949" y="191758"/>
                  <a:pt x="575273" y="253082"/>
                  <a:pt x="575273" y="328728"/>
                </a:cubicBezTo>
                <a:cubicBezTo>
                  <a:pt x="575273" y="404373"/>
                  <a:pt x="513949" y="465697"/>
                  <a:pt x="438303" y="465697"/>
                </a:cubicBezTo>
                <a:cubicBezTo>
                  <a:pt x="362658" y="465697"/>
                  <a:pt x="301334" y="404373"/>
                  <a:pt x="301334" y="328728"/>
                </a:cubicBezTo>
                <a:cubicBezTo>
                  <a:pt x="301334" y="253082"/>
                  <a:pt x="362658" y="191758"/>
                  <a:pt x="438303" y="191758"/>
                </a:cubicBezTo>
                <a:close/>
                <a:moveTo>
                  <a:pt x="438303" y="246546"/>
                </a:moveTo>
                <a:cubicBezTo>
                  <a:pt x="431280" y="246546"/>
                  <a:pt x="425490" y="251833"/>
                  <a:pt x="424698" y="258646"/>
                </a:cubicBezTo>
                <a:lnTo>
                  <a:pt x="424606" y="260243"/>
                </a:lnTo>
                <a:lnTo>
                  <a:pt x="424606" y="315031"/>
                </a:lnTo>
                <a:lnTo>
                  <a:pt x="369818" y="315031"/>
                </a:lnTo>
                <a:cubicBezTo>
                  <a:pt x="362795" y="315031"/>
                  <a:pt x="357005" y="320318"/>
                  <a:pt x="356213" y="327130"/>
                </a:cubicBezTo>
                <a:lnTo>
                  <a:pt x="356121" y="328728"/>
                </a:lnTo>
                <a:cubicBezTo>
                  <a:pt x="356121" y="335751"/>
                  <a:pt x="361409" y="341541"/>
                  <a:pt x="368221" y="342333"/>
                </a:cubicBezTo>
                <a:lnTo>
                  <a:pt x="369818" y="342424"/>
                </a:lnTo>
                <a:lnTo>
                  <a:pt x="424606" y="342424"/>
                </a:lnTo>
                <a:lnTo>
                  <a:pt x="424606" y="397212"/>
                </a:lnTo>
                <a:cubicBezTo>
                  <a:pt x="424606" y="404236"/>
                  <a:pt x="429893" y="410026"/>
                  <a:pt x="436706" y="410818"/>
                </a:cubicBezTo>
                <a:lnTo>
                  <a:pt x="438303" y="410909"/>
                </a:lnTo>
                <a:cubicBezTo>
                  <a:pt x="445327" y="410909"/>
                  <a:pt x="451117" y="405622"/>
                  <a:pt x="451909" y="398809"/>
                </a:cubicBezTo>
                <a:lnTo>
                  <a:pt x="452000" y="397212"/>
                </a:lnTo>
                <a:lnTo>
                  <a:pt x="452000" y="342424"/>
                </a:lnTo>
                <a:lnTo>
                  <a:pt x="506788" y="342424"/>
                </a:lnTo>
                <a:cubicBezTo>
                  <a:pt x="513812" y="342424"/>
                  <a:pt x="519602" y="337137"/>
                  <a:pt x="520393" y="330325"/>
                </a:cubicBezTo>
                <a:lnTo>
                  <a:pt x="520485" y="328728"/>
                </a:lnTo>
                <a:cubicBezTo>
                  <a:pt x="520485" y="321704"/>
                  <a:pt x="515198" y="315914"/>
                  <a:pt x="508385" y="315122"/>
                </a:cubicBezTo>
                <a:lnTo>
                  <a:pt x="506788" y="315031"/>
                </a:lnTo>
                <a:lnTo>
                  <a:pt x="452000" y="315031"/>
                </a:lnTo>
                <a:lnTo>
                  <a:pt x="452000" y="260243"/>
                </a:lnTo>
                <a:cubicBezTo>
                  <a:pt x="452000" y="253219"/>
                  <a:pt x="446713" y="247429"/>
                  <a:pt x="439900" y="246637"/>
                </a:cubicBezTo>
                <a:lnTo>
                  <a:pt x="438303" y="246546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3600000" scaled="0"/>
          </a:gradFill>
          <a:ln w="1369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2" name="Graphic 45" descr="Folder Arrow Up&#10;Keyword: fluent-icon;&#10;Metaphor: analog, collection;&#10;&#10;Used to represent collections of files.">
            <a:extLst>
              <a:ext uri="{FF2B5EF4-FFF2-40B4-BE49-F238E27FC236}">
                <a16:creationId xmlns:a16="http://schemas.microsoft.com/office/drawing/2014/main" id="{8C9CBE9F-0211-2DF6-4A13-C22C20AF0BDF}"/>
              </a:ext>
            </a:extLst>
          </p:cNvPr>
          <p:cNvSpPr/>
          <p:nvPr/>
        </p:nvSpPr>
        <p:spPr>
          <a:xfrm>
            <a:off x="8168070" y="4431398"/>
            <a:ext cx="575273" cy="479394"/>
          </a:xfrm>
          <a:custGeom>
            <a:avLst/>
            <a:gdLst>
              <a:gd name="connsiteX0" fmla="*/ 178892 w 575273"/>
              <a:gd name="connsiteY0" fmla="*/ 0 h 479394"/>
              <a:gd name="connsiteX1" fmla="*/ 210320 w 575273"/>
              <a:gd name="connsiteY1" fmla="*/ 10737 h 479394"/>
              <a:gd name="connsiteX2" fmla="*/ 212715 w 575273"/>
              <a:gd name="connsiteY2" fmla="*/ 12709 h 479394"/>
              <a:gd name="connsiteX3" fmla="*/ 248137 w 575273"/>
              <a:gd name="connsiteY3" fmla="*/ 43703 h 479394"/>
              <a:gd name="connsiteX4" fmla="*/ 257354 w 575273"/>
              <a:gd name="connsiteY4" fmla="*/ 47815 h 479394"/>
              <a:gd name="connsiteX5" fmla="*/ 259411 w 575273"/>
              <a:gd name="connsiteY5" fmla="*/ 47939 h 479394"/>
              <a:gd name="connsiteX6" fmla="*/ 496516 w 575273"/>
              <a:gd name="connsiteY6" fmla="*/ 47939 h 479394"/>
              <a:gd name="connsiteX7" fmla="*/ 547808 w 575273"/>
              <a:gd name="connsiteY7" fmla="*/ 96575 h 479394"/>
              <a:gd name="connsiteX8" fmla="*/ 547879 w 575273"/>
              <a:gd name="connsiteY8" fmla="*/ 99303 h 479394"/>
              <a:gd name="connsiteX9" fmla="*/ 547885 w 575273"/>
              <a:gd name="connsiteY9" fmla="*/ 200243 h 479394"/>
              <a:gd name="connsiteX10" fmla="*/ 513639 w 575273"/>
              <a:gd name="connsiteY10" fmla="*/ 174490 h 479394"/>
              <a:gd name="connsiteX11" fmla="*/ 513637 w 575273"/>
              <a:gd name="connsiteY11" fmla="*/ 99303 h 479394"/>
              <a:gd name="connsiteX12" fmla="*/ 498266 w 575273"/>
              <a:gd name="connsiteY12" fmla="*/ 82271 h 479394"/>
              <a:gd name="connsiteX13" fmla="*/ 496516 w 575273"/>
              <a:gd name="connsiteY13" fmla="*/ 82182 h 479394"/>
              <a:gd name="connsiteX14" fmla="*/ 258152 w 575273"/>
              <a:gd name="connsiteY14" fmla="*/ 82167 h 479394"/>
              <a:gd name="connsiteX15" fmla="*/ 229020 w 575273"/>
              <a:gd name="connsiteY15" fmla="*/ 117995 h 479394"/>
              <a:gd name="connsiteX16" fmla="*/ 192237 w 575273"/>
              <a:gd name="connsiteY16" fmla="*/ 136878 h 479394"/>
              <a:gd name="connsiteX17" fmla="*/ 189157 w 575273"/>
              <a:gd name="connsiteY17" fmla="*/ 136970 h 479394"/>
              <a:gd name="connsiteX18" fmla="*/ 34242 w 575273"/>
              <a:gd name="connsiteY18" fmla="*/ 136956 h 479394"/>
              <a:gd name="connsiteX19" fmla="*/ 34242 w 575273"/>
              <a:gd name="connsiteY19" fmla="*/ 359546 h 479394"/>
              <a:gd name="connsiteX20" fmla="*/ 49613 w 575273"/>
              <a:gd name="connsiteY20" fmla="*/ 376578 h 479394"/>
              <a:gd name="connsiteX21" fmla="*/ 51364 w 575273"/>
              <a:gd name="connsiteY21" fmla="*/ 376667 h 479394"/>
              <a:gd name="connsiteX22" fmla="*/ 253075 w 575273"/>
              <a:gd name="connsiteY22" fmla="*/ 376672 h 479394"/>
              <a:gd name="connsiteX23" fmla="*/ 266610 w 575273"/>
              <a:gd name="connsiteY23" fmla="*/ 410922 h 479394"/>
              <a:gd name="connsiteX24" fmla="*/ 51364 w 575273"/>
              <a:gd name="connsiteY24" fmla="*/ 410909 h 479394"/>
              <a:gd name="connsiteX25" fmla="*/ 71 w 575273"/>
              <a:gd name="connsiteY25" fmla="*/ 362274 h 479394"/>
              <a:gd name="connsiteX26" fmla="*/ 0 w 575273"/>
              <a:gd name="connsiteY26" fmla="*/ 359546 h 479394"/>
              <a:gd name="connsiteX27" fmla="*/ 0 w 575273"/>
              <a:gd name="connsiteY27" fmla="*/ 51364 h 479394"/>
              <a:gd name="connsiteX28" fmla="*/ 48636 w 575273"/>
              <a:gd name="connsiteY28" fmla="*/ 71 h 479394"/>
              <a:gd name="connsiteX29" fmla="*/ 51364 w 575273"/>
              <a:gd name="connsiteY29" fmla="*/ 0 h 479394"/>
              <a:gd name="connsiteX30" fmla="*/ 178892 w 575273"/>
              <a:gd name="connsiteY30" fmla="*/ 0 h 479394"/>
              <a:gd name="connsiteX31" fmla="*/ 178892 w 575273"/>
              <a:gd name="connsiteY31" fmla="*/ 34242 h 479394"/>
              <a:gd name="connsiteX32" fmla="*/ 51364 w 575273"/>
              <a:gd name="connsiteY32" fmla="*/ 34242 h 479394"/>
              <a:gd name="connsiteX33" fmla="*/ 34331 w 575273"/>
              <a:gd name="connsiteY33" fmla="*/ 49613 h 479394"/>
              <a:gd name="connsiteX34" fmla="*/ 34242 w 575273"/>
              <a:gd name="connsiteY34" fmla="*/ 51364 h 479394"/>
              <a:gd name="connsiteX35" fmla="*/ 34242 w 575273"/>
              <a:gd name="connsiteY35" fmla="*/ 102714 h 479394"/>
              <a:gd name="connsiteX36" fmla="*/ 189157 w 575273"/>
              <a:gd name="connsiteY36" fmla="*/ 102727 h 479394"/>
              <a:gd name="connsiteX37" fmla="*/ 201151 w 575273"/>
              <a:gd name="connsiteY37" fmla="*/ 97824 h 479394"/>
              <a:gd name="connsiteX38" fmla="*/ 202444 w 575273"/>
              <a:gd name="connsiteY38" fmla="*/ 96402 h 479394"/>
              <a:gd name="connsiteX39" fmla="*/ 224836 w 575273"/>
              <a:gd name="connsiteY39" fmla="*/ 68827 h 479394"/>
              <a:gd name="connsiteX40" fmla="*/ 190166 w 575273"/>
              <a:gd name="connsiteY40" fmla="*/ 38479 h 479394"/>
              <a:gd name="connsiteX41" fmla="*/ 180949 w 575273"/>
              <a:gd name="connsiteY41" fmla="*/ 34367 h 479394"/>
              <a:gd name="connsiteX42" fmla="*/ 178892 w 575273"/>
              <a:gd name="connsiteY42" fmla="*/ 34242 h 479394"/>
              <a:gd name="connsiteX43" fmla="*/ 575273 w 575273"/>
              <a:gd name="connsiteY43" fmla="*/ 328728 h 479394"/>
              <a:gd name="connsiteX44" fmla="*/ 424606 w 575273"/>
              <a:gd name="connsiteY44" fmla="*/ 479394 h 479394"/>
              <a:gd name="connsiteX45" fmla="*/ 273940 w 575273"/>
              <a:gd name="connsiteY45" fmla="*/ 328728 h 479394"/>
              <a:gd name="connsiteX46" fmla="*/ 424606 w 575273"/>
              <a:gd name="connsiteY46" fmla="*/ 178061 h 479394"/>
              <a:gd name="connsiteX47" fmla="*/ 575273 w 575273"/>
              <a:gd name="connsiteY47" fmla="*/ 328728 h 479394"/>
              <a:gd name="connsiteX48" fmla="*/ 424606 w 575273"/>
              <a:gd name="connsiteY48" fmla="*/ 219152 h 479394"/>
              <a:gd name="connsiteX49" fmla="*/ 414921 w 575273"/>
              <a:gd name="connsiteY49" fmla="*/ 223164 h 479394"/>
              <a:gd name="connsiteX50" fmla="*/ 346436 w 575273"/>
              <a:gd name="connsiteY50" fmla="*/ 291648 h 479394"/>
              <a:gd name="connsiteX51" fmla="*/ 346436 w 575273"/>
              <a:gd name="connsiteY51" fmla="*/ 311019 h 479394"/>
              <a:gd name="connsiteX52" fmla="*/ 365807 w 575273"/>
              <a:gd name="connsiteY52" fmla="*/ 311019 h 479394"/>
              <a:gd name="connsiteX53" fmla="*/ 410909 w 575273"/>
              <a:gd name="connsiteY53" fmla="*/ 265916 h 479394"/>
              <a:gd name="connsiteX54" fmla="*/ 410909 w 575273"/>
              <a:gd name="connsiteY54" fmla="*/ 424606 h 479394"/>
              <a:gd name="connsiteX55" fmla="*/ 424606 w 575273"/>
              <a:gd name="connsiteY55" fmla="*/ 438303 h 479394"/>
              <a:gd name="connsiteX56" fmla="*/ 438303 w 575273"/>
              <a:gd name="connsiteY56" fmla="*/ 424606 h 479394"/>
              <a:gd name="connsiteX57" fmla="*/ 438303 w 575273"/>
              <a:gd name="connsiteY57" fmla="*/ 265916 h 479394"/>
              <a:gd name="connsiteX58" fmla="*/ 483406 w 575273"/>
              <a:gd name="connsiteY58" fmla="*/ 311019 h 479394"/>
              <a:gd name="connsiteX59" fmla="*/ 502776 w 575273"/>
              <a:gd name="connsiteY59" fmla="*/ 311019 h 479394"/>
              <a:gd name="connsiteX60" fmla="*/ 502776 w 575273"/>
              <a:gd name="connsiteY60" fmla="*/ 291648 h 479394"/>
              <a:gd name="connsiteX61" fmla="*/ 434292 w 575273"/>
              <a:gd name="connsiteY61" fmla="*/ 223164 h 479394"/>
              <a:gd name="connsiteX62" fmla="*/ 424606 w 575273"/>
              <a:gd name="connsiteY62" fmla="*/ 219152 h 479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575273" h="479394">
                <a:moveTo>
                  <a:pt x="178892" y="0"/>
                </a:moveTo>
                <a:cubicBezTo>
                  <a:pt x="190296" y="0"/>
                  <a:pt x="201346" y="3794"/>
                  <a:pt x="210320" y="10737"/>
                </a:cubicBezTo>
                <a:lnTo>
                  <a:pt x="212715" y="12709"/>
                </a:lnTo>
                <a:lnTo>
                  <a:pt x="248137" y="43703"/>
                </a:lnTo>
                <a:cubicBezTo>
                  <a:pt x="250738" y="45979"/>
                  <a:pt x="253954" y="47404"/>
                  <a:pt x="257354" y="47815"/>
                </a:cubicBezTo>
                <a:lnTo>
                  <a:pt x="259411" y="47939"/>
                </a:lnTo>
                <a:lnTo>
                  <a:pt x="496516" y="47939"/>
                </a:lnTo>
                <a:cubicBezTo>
                  <a:pt x="523968" y="47939"/>
                  <a:pt x="546390" y="69477"/>
                  <a:pt x="547808" y="96575"/>
                </a:cubicBezTo>
                <a:lnTo>
                  <a:pt x="547879" y="99303"/>
                </a:lnTo>
                <a:lnTo>
                  <a:pt x="547885" y="200243"/>
                </a:lnTo>
                <a:cubicBezTo>
                  <a:pt x="537579" y="190352"/>
                  <a:pt x="526086" y="181689"/>
                  <a:pt x="513639" y="174490"/>
                </a:cubicBezTo>
                <a:lnTo>
                  <a:pt x="513637" y="99303"/>
                </a:lnTo>
                <a:cubicBezTo>
                  <a:pt x="513637" y="90438"/>
                  <a:pt x="506899" y="83148"/>
                  <a:pt x="498266" y="82271"/>
                </a:cubicBezTo>
                <a:lnTo>
                  <a:pt x="496516" y="82182"/>
                </a:lnTo>
                <a:lnTo>
                  <a:pt x="258152" y="82167"/>
                </a:lnTo>
                <a:lnTo>
                  <a:pt x="229020" y="117995"/>
                </a:lnTo>
                <a:cubicBezTo>
                  <a:pt x="219917" y="129199"/>
                  <a:pt x="206555" y="136018"/>
                  <a:pt x="192237" y="136878"/>
                </a:cubicBezTo>
                <a:lnTo>
                  <a:pt x="189157" y="136970"/>
                </a:lnTo>
                <a:lnTo>
                  <a:pt x="34242" y="136956"/>
                </a:lnTo>
                <a:lnTo>
                  <a:pt x="34242" y="359546"/>
                </a:lnTo>
                <a:cubicBezTo>
                  <a:pt x="34242" y="368410"/>
                  <a:pt x="40980" y="375701"/>
                  <a:pt x="49613" y="376578"/>
                </a:cubicBezTo>
                <a:lnTo>
                  <a:pt x="51364" y="376667"/>
                </a:lnTo>
                <a:lnTo>
                  <a:pt x="253075" y="376672"/>
                </a:lnTo>
                <a:cubicBezTo>
                  <a:pt x="256414" y="388645"/>
                  <a:pt x="260974" y="400109"/>
                  <a:pt x="266610" y="410922"/>
                </a:cubicBezTo>
                <a:lnTo>
                  <a:pt x="51364" y="410909"/>
                </a:lnTo>
                <a:cubicBezTo>
                  <a:pt x="23911" y="410909"/>
                  <a:pt x="1489" y="389372"/>
                  <a:pt x="71" y="362274"/>
                </a:cubicBezTo>
                <a:lnTo>
                  <a:pt x="0" y="359546"/>
                </a:lnTo>
                <a:lnTo>
                  <a:pt x="0" y="51364"/>
                </a:lnTo>
                <a:cubicBezTo>
                  <a:pt x="0" y="23911"/>
                  <a:pt x="21537" y="1489"/>
                  <a:pt x="48636" y="71"/>
                </a:cubicBezTo>
                <a:lnTo>
                  <a:pt x="51364" y="0"/>
                </a:lnTo>
                <a:lnTo>
                  <a:pt x="178892" y="0"/>
                </a:lnTo>
                <a:close/>
                <a:moveTo>
                  <a:pt x="178892" y="34242"/>
                </a:moveTo>
                <a:lnTo>
                  <a:pt x="51364" y="34242"/>
                </a:lnTo>
                <a:cubicBezTo>
                  <a:pt x="42499" y="34242"/>
                  <a:pt x="35208" y="40980"/>
                  <a:pt x="34331" y="49613"/>
                </a:cubicBezTo>
                <a:lnTo>
                  <a:pt x="34242" y="51364"/>
                </a:lnTo>
                <a:lnTo>
                  <a:pt x="34242" y="102714"/>
                </a:lnTo>
                <a:lnTo>
                  <a:pt x="189157" y="102727"/>
                </a:lnTo>
                <a:cubicBezTo>
                  <a:pt x="193667" y="102727"/>
                  <a:pt x="197968" y="100948"/>
                  <a:pt x="201151" y="97824"/>
                </a:cubicBezTo>
                <a:lnTo>
                  <a:pt x="202444" y="96402"/>
                </a:lnTo>
                <a:lnTo>
                  <a:pt x="224836" y="68827"/>
                </a:lnTo>
                <a:lnTo>
                  <a:pt x="190166" y="38479"/>
                </a:lnTo>
                <a:cubicBezTo>
                  <a:pt x="187565" y="36202"/>
                  <a:pt x="184349" y="34778"/>
                  <a:pt x="180949" y="34367"/>
                </a:cubicBezTo>
                <a:lnTo>
                  <a:pt x="178892" y="34242"/>
                </a:lnTo>
                <a:close/>
                <a:moveTo>
                  <a:pt x="575273" y="328728"/>
                </a:moveTo>
                <a:cubicBezTo>
                  <a:pt x="575273" y="411938"/>
                  <a:pt x="507817" y="479394"/>
                  <a:pt x="424606" y="479394"/>
                </a:cubicBezTo>
                <a:cubicBezTo>
                  <a:pt x="341396" y="479394"/>
                  <a:pt x="273940" y="411938"/>
                  <a:pt x="273940" y="328728"/>
                </a:cubicBezTo>
                <a:cubicBezTo>
                  <a:pt x="273940" y="245517"/>
                  <a:pt x="341396" y="178061"/>
                  <a:pt x="424606" y="178061"/>
                </a:cubicBezTo>
                <a:cubicBezTo>
                  <a:pt x="507817" y="178061"/>
                  <a:pt x="575273" y="245517"/>
                  <a:pt x="575273" y="328728"/>
                </a:cubicBezTo>
                <a:close/>
                <a:moveTo>
                  <a:pt x="424606" y="219152"/>
                </a:moveTo>
                <a:cubicBezTo>
                  <a:pt x="420974" y="219152"/>
                  <a:pt x="417489" y="220595"/>
                  <a:pt x="414921" y="223164"/>
                </a:cubicBezTo>
                <a:lnTo>
                  <a:pt x="346436" y="291648"/>
                </a:lnTo>
                <a:cubicBezTo>
                  <a:pt x="341088" y="296997"/>
                  <a:pt x="341088" y="305670"/>
                  <a:pt x="346436" y="311019"/>
                </a:cubicBezTo>
                <a:cubicBezTo>
                  <a:pt x="351785" y="316367"/>
                  <a:pt x="360458" y="316367"/>
                  <a:pt x="365807" y="311019"/>
                </a:cubicBezTo>
                <a:lnTo>
                  <a:pt x="410909" y="265916"/>
                </a:lnTo>
                <a:lnTo>
                  <a:pt x="410909" y="424606"/>
                </a:lnTo>
                <a:cubicBezTo>
                  <a:pt x="410909" y="432171"/>
                  <a:pt x="417042" y="438303"/>
                  <a:pt x="424606" y="438303"/>
                </a:cubicBezTo>
                <a:cubicBezTo>
                  <a:pt x="432171" y="438303"/>
                  <a:pt x="438303" y="432171"/>
                  <a:pt x="438303" y="424606"/>
                </a:cubicBezTo>
                <a:lnTo>
                  <a:pt x="438303" y="265916"/>
                </a:lnTo>
                <a:lnTo>
                  <a:pt x="483406" y="311019"/>
                </a:lnTo>
                <a:cubicBezTo>
                  <a:pt x="488755" y="316367"/>
                  <a:pt x="497428" y="316367"/>
                  <a:pt x="502776" y="311019"/>
                </a:cubicBezTo>
                <a:cubicBezTo>
                  <a:pt x="508125" y="305670"/>
                  <a:pt x="508125" y="296997"/>
                  <a:pt x="502776" y="291648"/>
                </a:cubicBezTo>
                <a:lnTo>
                  <a:pt x="434292" y="223164"/>
                </a:lnTo>
                <a:cubicBezTo>
                  <a:pt x="431723" y="220595"/>
                  <a:pt x="428239" y="219152"/>
                  <a:pt x="424606" y="219152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3600000" scaled="0"/>
          </a:gradFill>
          <a:ln w="1369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3" name="Graphic 46" descr="Form New&#10;Keyword: fluent-icon, forms;&#10;Metaphor: survey, suggestion, feedback;&#10;&#10;Used to represent form elements.">
            <a:extLst>
              <a:ext uri="{FF2B5EF4-FFF2-40B4-BE49-F238E27FC236}">
                <a16:creationId xmlns:a16="http://schemas.microsoft.com/office/drawing/2014/main" id="{FC4D875E-A755-1E1D-5F16-4C8230B3BF45}"/>
              </a:ext>
            </a:extLst>
          </p:cNvPr>
          <p:cNvSpPr/>
          <p:nvPr/>
        </p:nvSpPr>
        <p:spPr>
          <a:xfrm>
            <a:off x="9114062" y="4390307"/>
            <a:ext cx="547879" cy="547879"/>
          </a:xfrm>
          <a:custGeom>
            <a:avLst/>
            <a:gdLst>
              <a:gd name="connsiteX0" fmla="*/ 0 w 547879"/>
              <a:gd name="connsiteY0" fmla="*/ 71909 h 547879"/>
              <a:gd name="connsiteX1" fmla="*/ 71909 w 547879"/>
              <a:gd name="connsiteY1" fmla="*/ 0 h 547879"/>
              <a:gd name="connsiteX2" fmla="*/ 421182 w 547879"/>
              <a:gd name="connsiteY2" fmla="*/ 0 h 547879"/>
              <a:gd name="connsiteX3" fmla="*/ 493091 w 547879"/>
              <a:gd name="connsiteY3" fmla="*/ 71909 h 547879"/>
              <a:gd name="connsiteX4" fmla="*/ 493091 w 547879"/>
              <a:gd name="connsiteY4" fmla="*/ 247143 h 547879"/>
              <a:gd name="connsiteX5" fmla="*/ 458849 w 547879"/>
              <a:gd name="connsiteY5" fmla="*/ 230108 h 547879"/>
              <a:gd name="connsiteX6" fmla="*/ 458849 w 547879"/>
              <a:gd name="connsiteY6" fmla="*/ 71909 h 547879"/>
              <a:gd name="connsiteX7" fmla="*/ 421182 w 547879"/>
              <a:gd name="connsiteY7" fmla="*/ 34242 h 547879"/>
              <a:gd name="connsiteX8" fmla="*/ 71909 w 547879"/>
              <a:gd name="connsiteY8" fmla="*/ 34242 h 547879"/>
              <a:gd name="connsiteX9" fmla="*/ 34242 w 547879"/>
              <a:gd name="connsiteY9" fmla="*/ 71909 h 547879"/>
              <a:gd name="connsiteX10" fmla="*/ 34242 w 547879"/>
              <a:gd name="connsiteY10" fmla="*/ 421182 h 547879"/>
              <a:gd name="connsiteX11" fmla="*/ 71909 w 547879"/>
              <a:gd name="connsiteY11" fmla="*/ 458849 h 547879"/>
              <a:gd name="connsiteX12" fmla="*/ 230108 w 547879"/>
              <a:gd name="connsiteY12" fmla="*/ 458849 h 547879"/>
              <a:gd name="connsiteX13" fmla="*/ 247143 w 547879"/>
              <a:gd name="connsiteY13" fmla="*/ 493091 h 547879"/>
              <a:gd name="connsiteX14" fmla="*/ 71909 w 547879"/>
              <a:gd name="connsiteY14" fmla="*/ 493091 h 547879"/>
              <a:gd name="connsiteX15" fmla="*/ 0 w 547879"/>
              <a:gd name="connsiteY15" fmla="*/ 421182 h 547879"/>
              <a:gd name="connsiteX16" fmla="*/ 0 w 547879"/>
              <a:gd name="connsiteY16" fmla="*/ 71909 h 547879"/>
              <a:gd name="connsiteX17" fmla="*/ 54788 w 547879"/>
              <a:gd name="connsiteY17" fmla="*/ 212303 h 547879"/>
              <a:gd name="connsiteX18" fmla="*/ 116424 w 547879"/>
              <a:gd name="connsiteY18" fmla="*/ 150667 h 547879"/>
              <a:gd name="connsiteX19" fmla="*/ 178061 w 547879"/>
              <a:gd name="connsiteY19" fmla="*/ 212303 h 547879"/>
              <a:gd name="connsiteX20" fmla="*/ 116424 w 547879"/>
              <a:gd name="connsiteY20" fmla="*/ 273940 h 547879"/>
              <a:gd name="connsiteX21" fmla="*/ 54788 w 547879"/>
              <a:gd name="connsiteY21" fmla="*/ 212303 h 547879"/>
              <a:gd name="connsiteX22" fmla="*/ 116424 w 547879"/>
              <a:gd name="connsiteY22" fmla="*/ 184909 h 547879"/>
              <a:gd name="connsiteX23" fmla="*/ 89030 w 547879"/>
              <a:gd name="connsiteY23" fmla="*/ 212303 h 547879"/>
              <a:gd name="connsiteX24" fmla="*/ 116424 w 547879"/>
              <a:gd name="connsiteY24" fmla="*/ 239697 h 547879"/>
              <a:gd name="connsiteX25" fmla="*/ 143818 w 547879"/>
              <a:gd name="connsiteY25" fmla="*/ 212303 h 547879"/>
              <a:gd name="connsiteX26" fmla="*/ 116424 w 547879"/>
              <a:gd name="connsiteY26" fmla="*/ 184909 h 547879"/>
              <a:gd name="connsiteX27" fmla="*/ 116424 w 547879"/>
              <a:gd name="connsiteY27" fmla="*/ 315031 h 547879"/>
              <a:gd name="connsiteX28" fmla="*/ 54788 w 547879"/>
              <a:gd name="connsiteY28" fmla="*/ 376667 h 547879"/>
              <a:gd name="connsiteX29" fmla="*/ 116424 w 547879"/>
              <a:gd name="connsiteY29" fmla="*/ 438303 h 547879"/>
              <a:gd name="connsiteX30" fmla="*/ 178061 w 547879"/>
              <a:gd name="connsiteY30" fmla="*/ 376667 h 547879"/>
              <a:gd name="connsiteX31" fmla="*/ 116424 w 547879"/>
              <a:gd name="connsiteY31" fmla="*/ 315031 h 547879"/>
              <a:gd name="connsiteX32" fmla="*/ 89030 w 547879"/>
              <a:gd name="connsiteY32" fmla="*/ 376667 h 547879"/>
              <a:gd name="connsiteX33" fmla="*/ 116424 w 547879"/>
              <a:gd name="connsiteY33" fmla="*/ 349273 h 547879"/>
              <a:gd name="connsiteX34" fmla="*/ 143818 w 547879"/>
              <a:gd name="connsiteY34" fmla="*/ 376667 h 547879"/>
              <a:gd name="connsiteX35" fmla="*/ 116424 w 547879"/>
              <a:gd name="connsiteY35" fmla="*/ 404061 h 547879"/>
              <a:gd name="connsiteX36" fmla="*/ 89030 w 547879"/>
              <a:gd name="connsiteY36" fmla="*/ 376667 h 547879"/>
              <a:gd name="connsiteX37" fmla="*/ 205471 w 547879"/>
              <a:gd name="connsiteY37" fmla="*/ 195182 h 547879"/>
              <a:gd name="connsiteX38" fmla="*/ 222592 w 547879"/>
              <a:gd name="connsiteY38" fmla="*/ 178061 h 547879"/>
              <a:gd name="connsiteX39" fmla="*/ 421182 w 547879"/>
              <a:gd name="connsiteY39" fmla="*/ 178061 h 547879"/>
              <a:gd name="connsiteX40" fmla="*/ 438303 w 547879"/>
              <a:gd name="connsiteY40" fmla="*/ 195182 h 547879"/>
              <a:gd name="connsiteX41" fmla="*/ 421182 w 547879"/>
              <a:gd name="connsiteY41" fmla="*/ 212303 h 547879"/>
              <a:gd name="connsiteX42" fmla="*/ 222592 w 547879"/>
              <a:gd name="connsiteY42" fmla="*/ 212303 h 547879"/>
              <a:gd name="connsiteX43" fmla="*/ 205471 w 547879"/>
              <a:gd name="connsiteY43" fmla="*/ 195182 h 547879"/>
              <a:gd name="connsiteX44" fmla="*/ 72090 w 547879"/>
              <a:gd name="connsiteY44" fmla="*/ 69789 h 547879"/>
              <a:gd name="connsiteX45" fmla="*/ 54969 w 547879"/>
              <a:gd name="connsiteY45" fmla="*/ 86910 h 547879"/>
              <a:gd name="connsiteX46" fmla="*/ 72090 w 547879"/>
              <a:gd name="connsiteY46" fmla="*/ 104031 h 547879"/>
              <a:gd name="connsiteX47" fmla="*/ 420905 w 547879"/>
              <a:gd name="connsiteY47" fmla="*/ 104031 h 547879"/>
              <a:gd name="connsiteX48" fmla="*/ 438027 w 547879"/>
              <a:gd name="connsiteY48" fmla="*/ 86910 h 547879"/>
              <a:gd name="connsiteX49" fmla="*/ 420905 w 547879"/>
              <a:gd name="connsiteY49" fmla="*/ 69789 h 547879"/>
              <a:gd name="connsiteX50" fmla="*/ 72090 w 547879"/>
              <a:gd name="connsiteY50" fmla="*/ 69789 h 547879"/>
              <a:gd name="connsiteX51" fmla="*/ 547879 w 547879"/>
              <a:gd name="connsiteY51" fmla="*/ 397212 h 547879"/>
              <a:gd name="connsiteX52" fmla="*/ 397212 w 547879"/>
              <a:gd name="connsiteY52" fmla="*/ 547879 h 547879"/>
              <a:gd name="connsiteX53" fmla="*/ 246546 w 547879"/>
              <a:gd name="connsiteY53" fmla="*/ 397212 h 547879"/>
              <a:gd name="connsiteX54" fmla="*/ 397212 w 547879"/>
              <a:gd name="connsiteY54" fmla="*/ 246546 h 547879"/>
              <a:gd name="connsiteX55" fmla="*/ 547879 w 547879"/>
              <a:gd name="connsiteY55" fmla="*/ 397212 h 547879"/>
              <a:gd name="connsiteX56" fmla="*/ 410909 w 547879"/>
              <a:gd name="connsiteY56" fmla="*/ 301334 h 547879"/>
              <a:gd name="connsiteX57" fmla="*/ 397212 w 547879"/>
              <a:gd name="connsiteY57" fmla="*/ 287637 h 547879"/>
              <a:gd name="connsiteX58" fmla="*/ 383515 w 547879"/>
              <a:gd name="connsiteY58" fmla="*/ 301334 h 547879"/>
              <a:gd name="connsiteX59" fmla="*/ 383515 w 547879"/>
              <a:gd name="connsiteY59" fmla="*/ 383515 h 547879"/>
              <a:gd name="connsiteX60" fmla="*/ 301334 w 547879"/>
              <a:gd name="connsiteY60" fmla="*/ 383515 h 547879"/>
              <a:gd name="connsiteX61" fmla="*/ 287637 w 547879"/>
              <a:gd name="connsiteY61" fmla="*/ 397212 h 547879"/>
              <a:gd name="connsiteX62" fmla="*/ 301334 w 547879"/>
              <a:gd name="connsiteY62" fmla="*/ 410909 h 547879"/>
              <a:gd name="connsiteX63" fmla="*/ 383515 w 547879"/>
              <a:gd name="connsiteY63" fmla="*/ 410909 h 547879"/>
              <a:gd name="connsiteX64" fmla="*/ 383515 w 547879"/>
              <a:gd name="connsiteY64" fmla="*/ 493091 h 547879"/>
              <a:gd name="connsiteX65" fmla="*/ 397212 w 547879"/>
              <a:gd name="connsiteY65" fmla="*/ 506788 h 547879"/>
              <a:gd name="connsiteX66" fmla="*/ 410909 w 547879"/>
              <a:gd name="connsiteY66" fmla="*/ 493091 h 547879"/>
              <a:gd name="connsiteX67" fmla="*/ 410909 w 547879"/>
              <a:gd name="connsiteY67" fmla="*/ 410909 h 547879"/>
              <a:gd name="connsiteX68" fmla="*/ 493091 w 547879"/>
              <a:gd name="connsiteY68" fmla="*/ 410909 h 547879"/>
              <a:gd name="connsiteX69" fmla="*/ 506788 w 547879"/>
              <a:gd name="connsiteY69" fmla="*/ 397212 h 547879"/>
              <a:gd name="connsiteX70" fmla="*/ 493091 w 547879"/>
              <a:gd name="connsiteY70" fmla="*/ 383515 h 547879"/>
              <a:gd name="connsiteX71" fmla="*/ 410909 w 547879"/>
              <a:gd name="connsiteY71" fmla="*/ 383515 h 547879"/>
              <a:gd name="connsiteX72" fmla="*/ 410909 w 547879"/>
              <a:gd name="connsiteY72" fmla="*/ 301334 h 547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</a:cxnLst>
            <a:rect l="l" t="t" r="r" b="b"/>
            <a:pathLst>
              <a:path w="547879" h="547879">
                <a:moveTo>
                  <a:pt x="0" y="71909"/>
                </a:moveTo>
                <a:cubicBezTo>
                  <a:pt x="0" y="32195"/>
                  <a:pt x="32195" y="0"/>
                  <a:pt x="71909" y="0"/>
                </a:cubicBezTo>
                <a:lnTo>
                  <a:pt x="421182" y="0"/>
                </a:lnTo>
                <a:cubicBezTo>
                  <a:pt x="460897" y="0"/>
                  <a:pt x="493091" y="32195"/>
                  <a:pt x="493091" y="71909"/>
                </a:cubicBezTo>
                <a:lnTo>
                  <a:pt x="493091" y="247143"/>
                </a:lnTo>
                <a:cubicBezTo>
                  <a:pt x="482402" y="240300"/>
                  <a:pt x="470934" y="234568"/>
                  <a:pt x="458849" y="230108"/>
                </a:cubicBezTo>
                <a:lnTo>
                  <a:pt x="458849" y="71909"/>
                </a:lnTo>
                <a:cubicBezTo>
                  <a:pt x="458849" y="51106"/>
                  <a:pt x="441985" y="34242"/>
                  <a:pt x="421182" y="34242"/>
                </a:cubicBezTo>
                <a:lnTo>
                  <a:pt x="71909" y="34242"/>
                </a:lnTo>
                <a:cubicBezTo>
                  <a:pt x="51106" y="34242"/>
                  <a:pt x="34242" y="51106"/>
                  <a:pt x="34242" y="71909"/>
                </a:cubicBezTo>
                <a:lnTo>
                  <a:pt x="34242" y="421182"/>
                </a:lnTo>
                <a:cubicBezTo>
                  <a:pt x="34242" y="441985"/>
                  <a:pt x="51106" y="458849"/>
                  <a:pt x="71909" y="458849"/>
                </a:cubicBezTo>
                <a:lnTo>
                  <a:pt x="230108" y="458849"/>
                </a:lnTo>
                <a:cubicBezTo>
                  <a:pt x="234568" y="470934"/>
                  <a:pt x="240300" y="482402"/>
                  <a:pt x="247143" y="493091"/>
                </a:cubicBezTo>
                <a:lnTo>
                  <a:pt x="71909" y="493091"/>
                </a:lnTo>
                <a:cubicBezTo>
                  <a:pt x="32195" y="493091"/>
                  <a:pt x="0" y="460897"/>
                  <a:pt x="0" y="421182"/>
                </a:cubicBezTo>
                <a:lnTo>
                  <a:pt x="0" y="71909"/>
                </a:lnTo>
                <a:close/>
                <a:moveTo>
                  <a:pt x="54788" y="212303"/>
                </a:moveTo>
                <a:cubicBezTo>
                  <a:pt x="54788" y="178262"/>
                  <a:pt x="82383" y="150667"/>
                  <a:pt x="116424" y="150667"/>
                </a:cubicBezTo>
                <a:cubicBezTo>
                  <a:pt x="150465" y="150667"/>
                  <a:pt x="178061" y="178262"/>
                  <a:pt x="178061" y="212303"/>
                </a:cubicBezTo>
                <a:cubicBezTo>
                  <a:pt x="178061" y="246344"/>
                  <a:pt x="150465" y="273940"/>
                  <a:pt x="116424" y="273940"/>
                </a:cubicBezTo>
                <a:cubicBezTo>
                  <a:pt x="82383" y="273940"/>
                  <a:pt x="54788" y="246344"/>
                  <a:pt x="54788" y="212303"/>
                </a:cubicBezTo>
                <a:close/>
                <a:moveTo>
                  <a:pt x="116424" y="184909"/>
                </a:moveTo>
                <a:cubicBezTo>
                  <a:pt x="101295" y="184909"/>
                  <a:pt x="89030" y="197173"/>
                  <a:pt x="89030" y="212303"/>
                </a:cubicBezTo>
                <a:cubicBezTo>
                  <a:pt x="89030" y="227433"/>
                  <a:pt x="101295" y="239697"/>
                  <a:pt x="116424" y="239697"/>
                </a:cubicBezTo>
                <a:cubicBezTo>
                  <a:pt x="131554" y="239697"/>
                  <a:pt x="143818" y="227433"/>
                  <a:pt x="143818" y="212303"/>
                </a:cubicBezTo>
                <a:cubicBezTo>
                  <a:pt x="143818" y="197173"/>
                  <a:pt x="131554" y="184909"/>
                  <a:pt x="116424" y="184909"/>
                </a:cubicBezTo>
                <a:close/>
                <a:moveTo>
                  <a:pt x="116424" y="315031"/>
                </a:moveTo>
                <a:cubicBezTo>
                  <a:pt x="82383" y="315031"/>
                  <a:pt x="54788" y="342626"/>
                  <a:pt x="54788" y="376667"/>
                </a:cubicBezTo>
                <a:cubicBezTo>
                  <a:pt x="54788" y="410708"/>
                  <a:pt x="82383" y="438303"/>
                  <a:pt x="116424" y="438303"/>
                </a:cubicBezTo>
                <a:cubicBezTo>
                  <a:pt x="150465" y="438303"/>
                  <a:pt x="178061" y="410708"/>
                  <a:pt x="178061" y="376667"/>
                </a:cubicBezTo>
                <a:cubicBezTo>
                  <a:pt x="178061" y="342626"/>
                  <a:pt x="150465" y="315031"/>
                  <a:pt x="116424" y="315031"/>
                </a:cubicBezTo>
                <a:close/>
                <a:moveTo>
                  <a:pt x="89030" y="376667"/>
                </a:moveTo>
                <a:cubicBezTo>
                  <a:pt x="89030" y="361537"/>
                  <a:pt x="101295" y="349273"/>
                  <a:pt x="116424" y="349273"/>
                </a:cubicBezTo>
                <a:cubicBezTo>
                  <a:pt x="131554" y="349273"/>
                  <a:pt x="143818" y="361537"/>
                  <a:pt x="143818" y="376667"/>
                </a:cubicBezTo>
                <a:cubicBezTo>
                  <a:pt x="143818" y="391797"/>
                  <a:pt x="131554" y="404061"/>
                  <a:pt x="116424" y="404061"/>
                </a:cubicBezTo>
                <a:cubicBezTo>
                  <a:pt x="101295" y="404061"/>
                  <a:pt x="89030" y="391797"/>
                  <a:pt x="89030" y="376667"/>
                </a:cubicBezTo>
                <a:close/>
                <a:moveTo>
                  <a:pt x="205471" y="195182"/>
                </a:moveTo>
                <a:cubicBezTo>
                  <a:pt x="205471" y="185726"/>
                  <a:pt x="213137" y="178061"/>
                  <a:pt x="222592" y="178061"/>
                </a:cubicBezTo>
                <a:lnTo>
                  <a:pt x="421182" y="178061"/>
                </a:lnTo>
                <a:cubicBezTo>
                  <a:pt x="430639" y="178061"/>
                  <a:pt x="438303" y="185726"/>
                  <a:pt x="438303" y="195182"/>
                </a:cubicBezTo>
                <a:cubicBezTo>
                  <a:pt x="438303" y="204638"/>
                  <a:pt x="430639" y="212303"/>
                  <a:pt x="421182" y="212303"/>
                </a:cubicBezTo>
                <a:lnTo>
                  <a:pt x="222592" y="212303"/>
                </a:lnTo>
                <a:cubicBezTo>
                  <a:pt x="213137" y="212303"/>
                  <a:pt x="205471" y="204638"/>
                  <a:pt x="205471" y="195182"/>
                </a:cubicBezTo>
                <a:close/>
                <a:moveTo>
                  <a:pt x="72090" y="69789"/>
                </a:moveTo>
                <a:cubicBezTo>
                  <a:pt x="62634" y="69789"/>
                  <a:pt x="54969" y="77455"/>
                  <a:pt x="54969" y="86910"/>
                </a:cubicBezTo>
                <a:cubicBezTo>
                  <a:pt x="54969" y="96366"/>
                  <a:pt x="62634" y="104031"/>
                  <a:pt x="72090" y="104031"/>
                </a:cubicBezTo>
                <a:lnTo>
                  <a:pt x="420905" y="104031"/>
                </a:lnTo>
                <a:cubicBezTo>
                  <a:pt x="430362" y="104031"/>
                  <a:pt x="438027" y="96366"/>
                  <a:pt x="438027" y="86910"/>
                </a:cubicBezTo>
                <a:cubicBezTo>
                  <a:pt x="438027" y="77455"/>
                  <a:pt x="430362" y="69789"/>
                  <a:pt x="420905" y="69789"/>
                </a:cubicBezTo>
                <a:lnTo>
                  <a:pt x="72090" y="69789"/>
                </a:lnTo>
                <a:close/>
                <a:moveTo>
                  <a:pt x="547879" y="397212"/>
                </a:moveTo>
                <a:cubicBezTo>
                  <a:pt x="547879" y="480423"/>
                  <a:pt x="480423" y="547879"/>
                  <a:pt x="397212" y="547879"/>
                </a:cubicBezTo>
                <a:cubicBezTo>
                  <a:pt x="314002" y="547879"/>
                  <a:pt x="246546" y="480423"/>
                  <a:pt x="246546" y="397212"/>
                </a:cubicBezTo>
                <a:cubicBezTo>
                  <a:pt x="246546" y="314002"/>
                  <a:pt x="314002" y="246546"/>
                  <a:pt x="397212" y="246546"/>
                </a:cubicBezTo>
                <a:cubicBezTo>
                  <a:pt x="480423" y="246546"/>
                  <a:pt x="547879" y="314002"/>
                  <a:pt x="547879" y="397212"/>
                </a:cubicBezTo>
                <a:close/>
                <a:moveTo>
                  <a:pt x="410909" y="301334"/>
                </a:moveTo>
                <a:cubicBezTo>
                  <a:pt x="410909" y="293769"/>
                  <a:pt x="404777" y="287637"/>
                  <a:pt x="397212" y="287637"/>
                </a:cubicBezTo>
                <a:cubicBezTo>
                  <a:pt x="389648" y="287637"/>
                  <a:pt x="383515" y="293769"/>
                  <a:pt x="383515" y="301334"/>
                </a:cubicBezTo>
                <a:lnTo>
                  <a:pt x="383515" y="383515"/>
                </a:lnTo>
                <a:lnTo>
                  <a:pt x="301334" y="383515"/>
                </a:lnTo>
                <a:cubicBezTo>
                  <a:pt x="293769" y="383515"/>
                  <a:pt x="287637" y="389648"/>
                  <a:pt x="287637" y="397212"/>
                </a:cubicBezTo>
                <a:cubicBezTo>
                  <a:pt x="287637" y="404777"/>
                  <a:pt x="293769" y="410909"/>
                  <a:pt x="301334" y="410909"/>
                </a:cubicBezTo>
                <a:lnTo>
                  <a:pt x="383515" y="410909"/>
                </a:lnTo>
                <a:lnTo>
                  <a:pt x="383515" y="493091"/>
                </a:lnTo>
                <a:cubicBezTo>
                  <a:pt x="383515" y="500656"/>
                  <a:pt x="389648" y="506788"/>
                  <a:pt x="397212" y="506788"/>
                </a:cubicBezTo>
                <a:cubicBezTo>
                  <a:pt x="404777" y="506788"/>
                  <a:pt x="410909" y="500656"/>
                  <a:pt x="410909" y="493091"/>
                </a:cubicBezTo>
                <a:lnTo>
                  <a:pt x="410909" y="410909"/>
                </a:lnTo>
                <a:lnTo>
                  <a:pt x="493091" y="410909"/>
                </a:lnTo>
                <a:cubicBezTo>
                  <a:pt x="500656" y="410909"/>
                  <a:pt x="506788" y="404777"/>
                  <a:pt x="506788" y="397212"/>
                </a:cubicBezTo>
                <a:cubicBezTo>
                  <a:pt x="506788" y="389648"/>
                  <a:pt x="500656" y="383515"/>
                  <a:pt x="493091" y="383515"/>
                </a:cubicBezTo>
                <a:lnTo>
                  <a:pt x="410909" y="383515"/>
                </a:lnTo>
                <a:lnTo>
                  <a:pt x="410909" y="301334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3600000" scaled="0"/>
          </a:gradFill>
          <a:ln w="1369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1658753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B137EE3-3EAE-326D-F0A4-9EF698028AD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2613" y="2848730"/>
            <a:ext cx="3613209" cy="615553"/>
          </a:xfrm>
        </p:spPr>
        <p:txBody>
          <a:bodyPr/>
          <a:lstStyle/>
          <a:p>
            <a:pPr algn="ctr"/>
            <a:r>
              <a:rPr lang="en-US" sz="4000"/>
              <a:t>Agenda</a:t>
            </a:r>
            <a:endParaRPr lang="en-US"/>
          </a:p>
        </p:txBody>
      </p:sp>
      <p:sp>
        <p:nvSpPr>
          <p:cNvPr id="68" name="Text Placeholder 3">
            <a:extLst>
              <a:ext uri="{FF2B5EF4-FFF2-40B4-BE49-F238E27FC236}">
                <a16:creationId xmlns:a16="http://schemas.microsoft.com/office/drawing/2014/main" id="{A563364C-C5A7-3315-64DB-A34BA6F81CCE}"/>
              </a:ext>
            </a:extLst>
          </p:cNvPr>
          <p:cNvSpPr txBox="1">
            <a:spLocks/>
          </p:cNvSpPr>
          <p:nvPr/>
        </p:nvSpPr>
        <p:spPr>
          <a:xfrm>
            <a:off x="5183133" y="1529568"/>
            <a:ext cx="3695682" cy="86177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400" b="1" kern="1200" spc="0" baseline="0">
                <a:gradFill>
                  <a:gsLst>
                    <a:gs pos="100000">
                      <a:schemeClr val="accent2"/>
                    </a:gs>
                    <a:gs pos="47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tx1"/>
                </a:solidFill>
              </a:rPr>
              <a:t>Build your first AI-powered Blazor app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28BBDF91-7CB6-3855-2E7F-07DE079514DD}"/>
              </a:ext>
            </a:extLst>
          </p:cNvPr>
          <p:cNvSpPr txBox="1">
            <a:spLocks/>
          </p:cNvSpPr>
          <p:nvPr/>
        </p:nvSpPr>
        <p:spPr>
          <a:xfrm>
            <a:off x="5183133" y="2725619"/>
            <a:ext cx="4603418" cy="86177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400" b="1" kern="1200" spc="0" baseline="0">
                <a:gradFill>
                  <a:gsLst>
                    <a:gs pos="100000">
                      <a:schemeClr val="accent2"/>
                    </a:gs>
                    <a:gs pos="47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tx1"/>
                </a:solidFill>
              </a:rPr>
              <a:t>Add AI features with .NET Smart Components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820FD169-2ACE-D3A1-29E4-356F056DCEC3}"/>
              </a:ext>
            </a:extLst>
          </p:cNvPr>
          <p:cNvSpPr txBox="1">
            <a:spLocks/>
          </p:cNvSpPr>
          <p:nvPr/>
        </p:nvSpPr>
        <p:spPr>
          <a:xfrm>
            <a:off x="5183133" y="3921670"/>
            <a:ext cx="3695682" cy="86177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400" b="1" kern="1200" spc="0" baseline="0">
                <a:gradFill>
                  <a:gsLst>
                    <a:gs pos="100000">
                      <a:schemeClr val="accent2"/>
                    </a:gs>
                    <a:gs pos="47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tx1"/>
                </a:solidFill>
              </a:rPr>
              <a:t>Leverage the .NET AI ecosystem</a:t>
            </a:r>
          </a:p>
        </p:txBody>
      </p:sp>
    </p:spTree>
    <p:extLst>
      <p:ext uri="{BB962C8B-B14F-4D97-AF65-F5344CB8AC3E}">
        <p14:creationId xmlns:p14="http://schemas.microsoft.com/office/powerpoint/2010/main" val="3516310884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AAB80BD-AF02-FA7B-3557-932B80ADC1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0676" y="422028"/>
            <a:ext cx="11018520" cy="553998"/>
          </a:xfrm>
        </p:spPr>
        <p:txBody>
          <a:bodyPr/>
          <a:lstStyle/>
          <a:p>
            <a:r>
              <a:rPr lang="en-US" sz="3600" dirty="0"/>
              <a:t>Access AI directly from the server with Blazo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E45FC19-3DE7-4CF8-FF9E-CC2DF06F392B}"/>
              </a:ext>
            </a:extLst>
          </p:cNvPr>
          <p:cNvSpPr txBox="1"/>
          <p:nvPr/>
        </p:nvSpPr>
        <p:spPr>
          <a:xfrm>
            <a:off x="5937530" y="4627651"/>
            <a:ext cx="836768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400" dirty="0"/>
              <a:t>Blazor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E50D89B-4B9C-E0BB-5FB2-F39C76F51843}"/>
              </a:ext>
            </a:extLst>
          </p:cNvPr>
          <p:cNvSpPr txBox="1"/>
          <p:nvPr/>
        </p:nvSpPr>
        <p:spPr>
          <a:xfrm>
            <a:off x="7404859" y="3715246"/>
            <a:ext cx="1242328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2400" dirty="0"/>
              <a:t>Semantic</a:t>
            </a:r>
          </a:p>
          <a:p>
            <a:pPr algn="ctr"/>
            <a:r>
              <a:rPr lang="en-US" sz="2400" dirty="0"/>
              <a:t>Kernel</a:t>
            </a:r>
          </a:p>
        </p:txBody>
      </p:sp>
      <p:sp>
        <p:nvSpPr>
          <p:cNvPr id="18" name="Arrow: Left-Right 17">
            <a:extLst>
              <a:ext uri="{FF2B5EF4-FFF2-40B4-BE49-F238E27FC236}">
                <a16:creationId xmlns:a16="http://schemas.microsoft.com/office/drawing/2014/main" id="{E839FFF8-4D45-482B-9BBA-106688E40C06}"/>
              </a:ext>
            </a:extLst>
          </p:cNvPr>
          <p:cNvSpPr/>
          <p:nvPr/>
        </p:nvSpPr>
        <p:spPr>
          <a:xfrm>
            <a:off x="2939877" y="3525928"/>
            <a:ext cx="1828799" cy="859362"/>
          </a:xfrm>
          <a:prstGeom prst="leftRightArrow">
            <a:avLst/>
          </a:prstGeom>
          <a:solidFill>
            <a:schemeClr val="accent1"/>
          </a:solidFill>
          <a:ln w="1162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45F944E-E3E6-806D-06CA-BDFF9AEA352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29727" y="3283570"/>
            <a:ext cx="1344081" cy="134408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26" name="Picture 2" descr="Semantic Kernel's new icon and the art of teamwork | Semantic Kernel">
            <a:extLst>
              <a:ext uri="{FF2B5EF4-FFF2-40B4-BE49-F238E27FC236}">
                <a16:creationId xmlns:a16="http://schemas.microsoft.com/office/drawing/2014/main" id="{D73E27E7-F242-5E57-5F6F-19FA9401C3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1556" y="2371165"/>
            <a:ext cx="1344081" cy="13440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Graphic 19" descr="Cloud outline">
            <a:extLst>
              <a:ext uri="{FF2B5EF4-FFF2-40B4-BE49-F238E27FC236}">
                <a16:creationId xmlns:a16="http://schemas.microsoft.com/office/drawing/2014/main" id="{C52511B7-82C3-446C-6AB7-BE5B390F0794}"/>
              </a:ext>
            </a:extLst>
          </p:cNvPr>
          <p:cNvSpPr>
            <a:spLocks noChangeAspect="1"/>
          </p:cNvSpPr>
          <p:nvPr/>
        </p:nvSpPr>
        <p:spPr>
          <a:xfrm>
            <a:off x="5048098" y="1828800"/>
            <a:ext cx="6299260" cy="3585344"/>
          </a:xfrm>
          <a:custGeom>
            <a:avLst/>
            <a:gdLst>
              <a:gd name="connsiteX0" fmla="*/ 136380 w 803118"/>
              <a:gd name="connsiteY0" fmla="*/ 456348 h 457110"/>
              <a:gd name="connsiteX1" fmla="*/ 174109 w 803118"/>
              <a:gd name="connsiteY1" fmla="*/ 457110 h 457110"/>
              <a:gd name="connsiteX2" fmla="*/ 688857 w 803118"/>
              <a:gd name="connsiteY2" fmla="*/ 457110 h 457110"/>
              <a:gd name="connsiteX3" fmla="*/ 803118 w 803118"/>
              <a:gd name="connsiteY3" fmla="*/ 341941 h 457110"/>
              <a:gd name="connsiteX4" fmla="*/ 689810 w 803118"/>
              <a:gd name="connsiteY4" fmla="*/ 227687 h 457110"/>
              <a:gd name="connsiteX5" fmla="*/ 680285 w 803118"/>
              <a:gd name="connsiteY5" fmla="*/ 227687 h 457110"/>
              <a:gd name="connsiteX6" fmla="*/ 620277 w 803118"/>
              <a:gd name="connsiteY6" fmla="*/ 111448 h 457110"/>
              <a:gd name="connsiteX7" fmla="*/ 489778 w 803118"/>
              <a:gd name="connsiteY7" fmla="*/ 93350 h 457110"/>
              <a:gd name="connsiteX8" fmla="*/ 259223 w 803118"/>
              <a:gd name="connsiteY8" fmla="*/ 18830 h 457110"/>
              <a:gd name="connsiteX9" fmla="*/ 165912 w 803118"/>
              <a:gd name="connsiteY9" fmla="*/ 170522 h 457110"/>
              <a:gd name="connsiteX10" fmla="*/ 165912 w 803118"/>
              <a:gd name="connsiteY10" fmla="*/ 172427 h 457110"/>
              <a:gd name="connsiteX11" fmla="*/ 143307 w 803118"/>
              <a:gd name="connsiteY11" fmla="*/ 170586 h 457110"/>
              <a:gd name="connsiteX12" fmla="*/ 0 w 803118"/>
              <a:gd name="connsiteY12" fmla="*/ 313560 h 457110"/>
              <a:gd name="connsiteX13" fmla="*/ 13501 w 803118"/>
              <a:gd name="connsiteY13" fmla="*/ 374413 h 457110"/>
              <a:gd name="connsiteX14" fmla="*/ 136380 w 803118"/>
              <a:gd name="connsiteY14" fmla="*/ 456348 h 457110"/>
              <a:gd name="connsiteX15" fmla="*/ 43965 w 803118"/>
              <a:gd name="connsiteY15" fmla="*/ 239142 h 457110"/>
              <a:gd name="connsiteX16" fmla="*/ 143301 w 803118"/>
              <a:gd name="connsiteY16" fmla="*/ 189634 h 457110"/>
              <a:gd name="connsiteX17" fmla="*/ 162828 w 803118"/>
              <a:gd name="connsiteY17" fmla="*/ 191224 h 457110"/>
              <a:gd name="connsiteX18" fmla="*/ 184955 w 803118"/>
              <a:gd name="connsiteY18" fmla="*/ 194843 h 457110"/>
              <a:gd name="connsiteX19" fmla="*/ 184955 w 803118"/>
              <a:gd name="connsiteY19" fmla="*/ 170518 h 457110"/>
              <a:gd name="connsiteX20" fmla="*/ 338194 w 803118"/>
              <a:gd name="connsiteY20" fmla="*/ 19153 h 457110"/>
              <a:gd name="connsiteX21" fmla="*/ 472827 w 803118"/>
              <a:gd name="connsiteY21" fmla="*/ 102048 h 457110"/>
              <a:gd name="connsiteX22" fmla="*/ 480392 w 803118"/>
              <a:gd name="connsiteY22" fmla="*/ 116782 h 457110"/>
              <a:gd name="connsiteX23" fmla="*/ 496034 w 803118"/>
              <a:gd name="connsiteY23" fmla="*/ 111340 h 457110"/>
              <a:gd name="connsiteX24" fmla="*/ 654020 w 803118"/>
              <a:gd name="connsiteY24" fmla="*/ 186110 h 457110"/>
              <a:gd name="connsiteX25" fmla="*/ 661234 w 803118"/>
              <a:gd name="connsiteY25" fmla="*/ 227687 h 457110"/>
              <a:gd name="connsiteX26" fmla="*/ 661234 w 803118"/>
              <a:gd name="connsiteY26" fmla="*/ 246737 h 457110"/>
              <a:gd name="connsiteX27" fmla="*/ 689809 w 803118"/>
              <a:gd name="connsiteY27" fmla="*/ 246737 h 457110"/>
              <a:gd name="connsiteX28" fmla="*/ 784059 w 803118"/>
              <a:gd name="connsiteY28" fmla="*/ 343801 h 457110"/>
              <a:gd name="connsiteX29" fmla="*/ 688857 w 803118"/>
              <a:gd name="connsiteY29" fmla="*/ 438060 h 457110"/>
              <a:gd name="connsiteX30" fmla="*/ 154389 w 803118"/>
              <a:gd name="connsiteY30" fmla="*/ 438060 h 457110"/>
              <a:gd name="connsiteX31" fmla="*/ 137414 w 803118"/>
              <a:gd name="connsiteY31" fmla="*/ 437326 h 457110"/>
              <a:gd name="connsiteX32" fmla="*/ 19106 w 803118"/>
              <a:gd name="connsiteY32" fmla="*/ 308356 h 457110"/>
              <a:gd name="connsiteX33" fmla="*/ 43962 w 803118"/>
              <a:gd name="connsiteY33" fmla="*/ 239142 h 4571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803118" h="457110">
                <a:moveTo>
                  <a:pt x="136380" y="456348"/>
                </a:moveTo>
                <a:cubicBezTo>
                  <a:pt x="146010" y="456873"/>
                  <a:pt x="174109" y="457110"/>
                  <a:pt x="174109" y="457110"/>
                </a:cubicBezTo>
                <a:lnTo>
                  <a:pt x="688857" y="457110"/>
                </a:lnTo>
                <a:cubicBezTo>
                  <a:pt x="752213" y="456860"/>
                  <a:pt x="803370" y="405296"/>
                  <a:pt x="803118" y="341941"/>
                </a:cubicBezTo>
                <a:cubicBezTo>
                  <a:pt x="802870" y="279311"/>
                  <a:pt x="752436" y="228455"/>
                  <a:pt x="689810" y="227687"/>
                </a:cubicBezTo>
                <a:lnTo>
                  <a:pt x="680285" y="227687"/>
                </a:lnTo>
                <a:cubicBezTo>
                  <a:pt x="680196" y="181531"/>
                  <a:pt x="657853" y="138251"/>
                  <a:pt x="620277" y="111448"/>
                </a:cubicBezTo>
                <a:cubicBezTo>
                  <a:pt x="582207" y="84811"/>
                  <a:pt x="533661" y="78079"/>
                  <a:pt x="489778" y="93350"/>
                </a:cubicBezTo>
                <a:cubicBezTo>
                  <a:pt x="446691" y="9107"/>
                  <a:pt x="343467" y="-24258"/>
                  <a:pt x="259223" y="18830"/>
                </a:cubicBezTo>
                <a:cubicBezTo>
                  <a:pt x="202218" y="47986"/>
                  <a:pt x="166228" y="106494"/>
                  <a:pt x="165912" y="170522"/>
                </a:cubicBezTo>
                <a:lnTo>
                  <a:pt x="165912" y="172427"/>
                </a:lnTo>
                <a:cubicBezTo>
                  <a:pt x="158438" y="171204"/>
                  <a:pt x="150879" y="170589"/>
                  <a:pt x="143307" y="170586"/>
                </a:cubicBezTo>
                <a:cubicBezTo>
                  <a:pt x="64252" y="170494"/>
                  <a:pt x="92" y="234506"/>
                  <a:pt x="0" y="313560"/>
                </a:cubicBezTo>
                <a:cubicBezTo>
                  <a:pt x="-24" y="334590"/>
                  <a:pt x="4585" y="355367"/>
                  <a:pt x="13501" y="374413"/>
                </a:cubicBezTo>
                <a:cubicBezTo>
                  <a:pt x="36640" y="421927"/>
                  <a:pt x="83621" y="453254"/>
                  <a:pt x="136380" y="456348"/>
                </a:cubicBezTo>
                <a:close/>
                <a:moveTo>
                  <a:pt x="43965" y="239142"/>
                </a:moveTo>
                <a:cubicBezTo>
                  <a:pt x="67730" y="208275"/>
                  <a:pt x="104348" y="190024"/>
                  <a:pt x="143301" y="189634"/>
                </a:cubicBezTo>
                <a:cubicBezTo>
                  <a:pt x="149842" y="189640"/>
                  <a:pt x="156372" y="190171"/>
                  <a:pt x="162828" y="191224"/>
                </a:cubicBezTo>
                <a:lnTo>
                  <a:pt x="184955" y="194843"/>
                </a:lnTo>
                <a:lnTo>
                  <a:pt x="184955" y="170518"/>
                </a:lnTo>
                <a:cubicBezTo>
                  <a:pt x="185472" y="86404"/>
                  <a:pt x="254080" y="18636"/>
                  <a:pt x="338194" y="19153"/>
                </a:cubicBezTo>
                <a:cubicBezTo>
                  <a:pt x="395022" y="19503"/>
                  <a:pt x="446929" y="51462"/>
                  <a:pt x="472827" y="102048"/>
                </a:cubicBezTo>
                <a:lnTo>
                  <a:pt x="480392" y="116782"/>
                </a:lnTo>
                <a:lnTo>
                  <a:pt x="496034" y="111340"/>
                </a:lnTo>
                <a:cubicBezTo>
                  <a:pt x="560308" y="88361"/>
                  <a:pt x="631039" y="121836"/>
                  <a:pt x="654020" y="186110"/>
                </a:cubicBezTo>
                <a:cubicBezTo>
                  <a:pt x="658790" y="199452"/>
                  <a:pt x="661230" y="213517"/>
                  <a:pt x="661234" y="227687"/>
                </a:cubicBezTo>
                <a:lnTo>
                  <a:pt x="661234" y="246737"/>
                </a:lnTo>
                <a:lnTo>
                  <a:pt x="689809" y="246737"/>
                </a:lnTo>
                <a:cubicBezTo>
                  <a:pt x="742638" y="247514"/>
                  <a:pt x="784836" y="290971"/>
                  <a:pt x="784059" y="343801"/>
                </a:cubicBezTo>
                <a:cubicBezTo>
                  <a:pt x="783292" y="395905"/>
                  <a:pt x="740967" y="437812"/>
                  <a:pt x="688857" y="438060"/>
                </a:cubicBezTo>
                <a:lnTo>
                  <a:pt x="154389" y="438060"/>
                </a:lnTo>
                <a:lnTo>
                  <a:pt x="137414" y="437326"/>
                </a:lnTo>
                <a:cubicBezTo>
                  <a:pt x="69130" y="434382"/>
                  <a:pt x="16162" y="376640"/>
                  <a:pt x="19106" y="308356"/>
                </a:cubicBezTo>
                <a:cubicBezTo>
                  <a:pt x="20186" y="283299"/>
                  <a:pt x="28855" y="259162"/>
                  <a:pt x="43962" y="23914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24" name="Graphic 22" descr="Browser window outline">
            <a:extLst>
              <a:ext uri="{FF2B5EF4-FFF2-40B4-BE49-F238E27FC236}">
                <a16:creationId xmlns:a16="http://schemas.microsoft.com/office/drawing/2014/main" id="{F5604452-CA11-20A8-9FCE-86A194503D76}"/>
              </a:ext>
            </a:extLst>
          </p:cNvPr>
          <p:cNvGrpSpPr>
            <a:grpSpLocks noChangeAspect="1"/>
          </p:cNvGrpSpPr>
          <p:nvPr/>
        </p:nvGrpSpPr>
        <p:grpSpPr>
          <a:xfrm>
            <a:off x="393238" y="3114403"/>
            <a:ext cx="2238750" cy="1735031"/>
            <a:chOff x="5715000" y="3133725"/>
            <a:chExt cx="762000" cy="590550"/>
          </a:xfrm>
          <a:solidFill>
            <a:schemeClr val="tx1"/>
          </a:solidFill>
        </p:grpSpPr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4F6DF58E-410F-20AC-5B05-39635145F6B2}"/>
                </a:ext>
              </a:extLst>
            </p:cNvPr>
            <p:cNvSpPr/>
            <p:nvPr/>
          </p:nvSpPr>
          <p:spPr>
            <a:xfrm>
              <a:off x="5715000" y="3133725"/>
              <a:ext cx="762000" cy="590550"/>
            </a:xfrm>
            <a:custGeom>
              <a:avLst/>
              <a:gdLst>
                <a:gd name="connsiteX0" fmla="*/ 0 w 762000"/>
                <a:gd name="connsiteY0" fmla="*/ 0 h 590550"/>
                <a:gd name="connsiteX1" fmla="*/ 0 w 762000"/>
                <a:gd name="connsiteY1" fmla="*/ 590550 h 590550"/>
                <a:gd name="connsiteX2" fmla="*/ 762000 w 762000"/>
                <a:gd name="connsiteY2" fmla="*/ 590550 h 590550"/>
                <a:gd name="connsiteX3" fmla="*/ 762000 w 762000"/>
                <a:gd name="connsiteY3" fmla="*/ 0 h 590550"/>
                <a:gd name="connsiteX4" fmla="*/ 742950 w 762000"/>
                <a:gd name="connsiteY4" fmla="*/ 19050 h 590550"/>
                <a:gd name="connsiteX5" fmla="*/ 742950 w 762000"/>
                <a:gd name="connsiteY5" fmla="*/ 142875 h 590550"/>
                <a:gd name="connsiteX6" fmla="*/ 19050 w 762000"/>
                <a:gd name="connsiteY6" fmla="*/ 142875 h 590550"/>
                <a:gd name="connsiteX7" fmla="*/ 19050 w 762000"/>
                <a:gd name="connsiteY7" fmla="*/ 19050 h 590550"/>
                <a:gd name="connsiteX8" fmla="*/ 19050 w 762000"/>
                <a:gd name="connsiteY8" fmla="*/ 571500 h 590550"/>
                <a:gd name="connsiteX9" fmla="*/ 19050 w 762000"/>
                <a:gd name="connsiteY9" fmla="*/ 161925 h 590550"/>
                <a:gd name="connsiteX10" fmla="*/ 742950 w 762000"/>
                <a:gd name="connsiteY10" fmla="*/ 161925 h 590550"/>
                <a:gd name="connsiteX11" fmla="*/ 742950 w 762000"/>
                <a:gd name="connsiteY11" fmla="*/ 571500 h 590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62000" h="590550">
                  <a:moveTo>
                    <a:pt x="0" y="0"/>
                  </a:moveTo>
                  <a:lnTo>
                    <a:pt x="0" y="590550"/>
                  </a:lnTo>
                  <a:lnTo>
                    <a:pt x="762000" y="590550"/>
                  </a:lnTo>
                  <a:lnTo>
                    <a:pt x="762000" y="0"/>
                  </a:lnTo>
                  <a:close/>
                  <a:moveTo>
                    <a:pt x="742950" y="19050"/>
                  </a:moveTo>
                  <a:lnTo>
                    <a:pt x="742950" y="142875"/>
                  </a:lnTo>
                  <a:lnTo>
                    <a:pt x="19050" y="142875"/>
                  </a:lnTo>
                  <a:lnTo>
                    <a:pt x="19050" y="19050"/>
                  </a:lnTo>
                  <a:close/>
                  <a:moveTo>
                    <a:pt x="19050" y="571500"/>
                  </a:moveTo>
                  <a:lnTo>
                    <a:pt x="19050" y="161925"/>
                  </a:lnTo>
                  <a:lnTo>
                    <a:pt x="742950" y="161925"/>
                  </a:lnTo>
                  <a:lnTo>
                    <a:pt x="742950" y="57150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F93DEDD4-3B20-84B2-7294-0DFEE3115280}"/>
                </a:ext>
              </a:extLst>
            </p:cNvPr>
            <p:cNvSpPr/>
            <p:nvPr/>
          </p:nvSpPr>
          <p:spPr>
            <a:xfrm>
              <a:off x="6219825" y="3190875"/>
              <a:ext cx="38100" cy="38100"/>
            </a:xfrm>
            <a:custGeom>
              <a:avLst/>
              <a:gdLst>
                <a:gd name="connsiteX0" fmla="*/ 38100 w 38100"/>
                <a:gd name="connsiteY0" fmla="*/ 19050 h 38100"/>
                <a:gd name="connsiteX1" fmla="*/ 19050 w 38100"/>
                <a:gd name="connsiteY1" fmla="*/ 38100 h 38100"/>
                <a:gd name="connsiteX2" fmla="*/ 0 w 38100"/>
                <a:gd name="connsiteY2" fmla="*/ 19050 h 38100"/>
                <a:gd name="connsiteX3" fmla="*/ 19050 w 38100"/>
                <a:gd name="connsiteY3" fmla="*/ 0 h 38100"/>
                <a:gd name="connsiteX4" fmla="*/ 38100 w 38100"/>
                <a:gd name="connsiteY4" fmla="*/ 1905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8100" y="19050"/>
                  </a:moveTo>
                  <a:cubicBezTo>
                    <a:pt x="38100" y="29571"/>
                    <a:pt x="29571" y="38100"/>
                    <a:pt x="19050" y="38100"/>
                  </a:cubicBezTo>
                  <a:cubicBezTo>
                    <a:pt x="8529" y="38100"/>
                    <a:pt x="0" y="29571"/>
                    <a:pt x="0" y="19050"/>
                  </a:cubicBezTo>
                  <a:cubicBezTo>
                    <a:pt x="0" y="8529"/>
                    <a:pt x="8529" y="0"/>
                    <a:pt x="19050" y="0"/>
                  </a:cubicBezTo>
                  <a:cubicBezTo>
                    <a:pt x="29571" y="0"/>
                    <a:pt x="38100" y="8529"/>
                    <a:pt x="38100" y="190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E7AB6B27-7DA1-F07A-019E-459D7C5C5A79}"/>
                </a:ext>
              </a:extLst>
            </p:cNvPr>
            <p:cNvSpPr/>
            <p:nvPr/>
          </p:nvSpPr>
          <p:spPr>
            <a:xfrm>
              <a:off x="6286500" y="3190875"/>
              <a:ext cx="38100" cy="38100"/>
            </a:xfrm>
            <a:custGeom>
              <a:avLst/>
              <a:gdLst>
                <a:gd name="connsiteX0" fmla="*/ 38100 w 38100"/>
                <a:gd name="connsiteY0" fmla="*/ 19050 h 38100"/>
                <a:gd name="connsiteX1" fmla="*/ 19050 w 38100"/>
                <a:gd name="connsiteY1" fmla="*/ 38100 h 38100"/>
                <a:gd name="connsiteX2" fmla="*/ 0 w 38100"/>
                <a:gd name="connsiteY2" fmla="*/ 19050 h 38100"/>
                <a:gd name="connsiteX3" fmla="*/ 19050 w 38100"/>
                <a:gd name="connsiteY3" fmla="*/ 0 h 38100"/>
                <a:gd name="connsiteX4" fmla="*/ 38100 w 38100"/>
                <a:gd name="connsiteY4" fmla="*/ 1905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8100" y="19050"/>
                  </a:moveTo>
                  <a:cubicBezTo>
                    <a:pt x="38100" y="29571"/>
                    <a:pt x="29571" y="38100"/>
                    <a:pt x="19050" y="38100"/>
                  </a:cubicBezTo>
                  <a:cubicBezTo>
                    <a:pt x="8529" y="38100"/>
                    <a:pt x="0" y="29571"/>
                    <a:pt x="0" y="19050"/>
                  </a:cubicBezTo>
                  <a:cubicBezTo>
                    <a:pt x="0" y="8529"/>
                    <a:pt x="8529" y="0"/>
                    <a:pt x="19050" y="0"/>
                  </a:cubicBezTo>
                  <a:cubicBezTo>
                    <a:pt x="29571" y="0"/>
                    <a:pt x="38100" y="8529"/>
                    <a:pt x="38100" y="190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1A257FC2-CB3E-3713-B8F0-9D0E9CDD87D0}"/>
                </a:ext>
              </a:extLst>
            </p:cNvPr>
            <p:cNvSpPr/>
            <p:nvPr/>
          </p:nvSpPr>
          <p:spPr>
            <a:xfrm>
              <a:off x="6353175" y="3190875"/>
              <a:ext cx="38100" cy="38100"/>
            </a:xfrm>
            <a:custGeom>
              <a:avLst/>
              <a:gdLst>
                <a:gd name="connsiteX0" fmla="*/ 38100 w 38100"/>
                <a:gd name="connsiteY0" fmla="*/ 19050 h 38100"/>
                <a:gd name="connsiteX1" fmla="*/ 19050 w 38100"/>
                <a:gd name="connsiteY1" fmla="*/ 38100 h 38100"/>
                <a:gd name="connsiteX2" fmla="*/ 0 w 38100"/>
                <a:gd name="connsiteY2" fmla="*/ 19050 h 38100"/>
                <a:gd name="connsiteX3" fmla="*/ 19050 w 38100"/>
                <a:gd name="connsiteY3" fmla="*/ 0 h 38100"/>
                <a:gd name="connsiteX4" fmla="*/ 38100 w 38100"/>
                <a:gd name="connsiteY4" fmla="*/ 1905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8100" y="19050"/>
                  </a:moveTo>
                  <a:cubicBezTo>
                    <a:pt x="38100" y="29571"/>
                    <a:pt x="29571" y="38100"/>
                    <a:pt x="19050" y="38100"/>
                  </a:cubicBezTo>
                  <a:cubicBezTo>
                    <a:pt x="8529" y="38100"/>
                    <a:pt x="0" y="29571"/>
                    <a:pt x="0" y="19050"/>
                  </a:cubicBezTo>
                  <a:cubicBezTo>
                    <a:pt x="0" y="8529"/>
                    <a:pt x="8529" y="0"/>
                    <a:pt x="19050" y="0"/>
                  </a:cubicBezTo>
                  <a:cubicBezTo>
                    <a:pt x="29571" y="0"/>
                    <a:pt x="38100" y="8529"/>
                    <a:pt x="38100" y="190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9" name="Graphic 66" descr="Brain circuit&#10;Keyword: fluent-icon, outlook;&#10;Metaphor: think, ai;&#10;&#10;">
            <a:extLst>
              <a:ext uri="{FF2B5EF4-FFF2-40B4-BE49-F238E27FC236}">
                <a16:creationId xmlns:a16="http://schemas.microsoft.com/office/drawing/2014/main" id="{9C107826-11D2-D8E6-040E-CDCE7B98E877}"/>
              </a:ext>
            </a:extLst>
          </p:cNvPr>
          <p:cNvSpPr>
            <a:spLocks noChangeAspect="1"/>
          </p:cNvSpPr>
          <p:nvPr/>
        </p:nvSpPr>
        <p:spPr>
          <a:xfrm>
            <a:off x="9015845" y="3408525"/>
            <a:ext cx="1218919" cy="1219126"/>
          </a:xfrm>
          <a:custGeom>
            <a:avLst/>
            <a:gdLst>
              <a:gd name="connsiteX0" fmla="*/ 140769 w 547518"/>
              <a:gd name="connsiteY0" fmla="*/ 27549 h 547611"/>
              <a:gd name="connsiteX1" fmla="*/ 222974 w 547518"/>
              <a:gd name="connsiteY1" fmla="*/ 0 h 547611"/>
              <a:gd name="connsiteX2" fmla="*/ 265889 w 547518"/>
              <a:gd name="connsiteY2" fmla="*/ 15748 h 547611"/>
              <a:gd name="connsiteX3" fmla="*/ 273759 w 547518"/>
              <a:gd name="connsiteY3" fmla="*/ 24090 h 547611"/>
              <a:gd name="connsiteX4" fmla="*/ 281630 w 547518"/>
              <a:gd name="connsiteY4" fmla="*/ 15748 h 547611"/>
              <a:gd name="connsiteX5" fmla="*/ 324545 w 547518"/>
              <a:gd name="connsiteY5" fmla="*/ 0 h 547611"/>
              <a:gd name="connsiteX6" fmla="*/ 406749 w 547518"/>
              <a:gd name="connsiteY6" fmla="*/ 27549 h 547611"/>
              <a:gd name="connsiteX7" fmla="*/ 443810 w 547518"/>
              <a:gd name="connsiteY7" fmla="*/ 83374 h 547611"/>
              <a:gd name="connsiteX8" fmla="*/ 473820 w 547518"/>
              <a:gd name="connsiteY8" fmla="*/ 98905 h 547611"/>
              <a:gd name="connsiteX9" fmla="*/ 502255 w 547518"/>
              <a:gd name="connsiteY9" fmla="*/ 147494 h 547611"/>
              <a:gd name="connsiteX10" fmla="*/ 510334 w 547518"/>
              <a:gd name="connsiteY10" fmla="*/ 207246 h 547611"/>
              <a:gd name="connsiteX11" fmla="*/ 505471 w 547518"/>
              <a:gd name="connsiteY11" fmla="*/ 238109 h 547611"/>
              <a:gd name="connsiteX12" fmla="*/ 507271 w 547518"/>
              <a:gd name="connsiteY12" fmla="*/ 238920 h 547611"/>
              <a:gd name="connsiteX13" fmla="*/ 531775 w 547518"/>
              <a:gd name="connsiteY13" fmla="*/ 261126 h 547611"/>
              <a:gd name="connsiteX14" fmla="*/ 547518 w 547518"/>
              <a:gd name="connsiteY14" fmla="*/ 341341 h 547611"/>
              <a:gd name="connsiteX15" fmla="*/ 512939 w 547518"/>
              <a:gd name="connsiteY15" fmla="*/ 424471 h 547611"/>
              <a:gd name="connsiteX16" fmla="*/ 478159 w 547518"/>
              <a:gd name="connsiteY16" fmla="*/ 443361 h 547611"/>
              <a:gd name="connsiteX17" fmla="*/ 450242 w 547518"/>
              <a:gd name="connsiteY17" fmla="*/ 501905 h 547611"/>
              <a:gd name="connsiteX18" fmla="*/ 358281 w 547518"/>
              <a:gd name="connsiteY18" fmla="*/ 547612 h 547611"/>
              <a:gd name="connsiteX19" fmla="*/ 282262 w 547518"/>
              <a:gd name="connsiteY19" fmla="*/ 511698 h 547611"/>
              <a:gd name="connsiteX20" fmla="*/ 273759 w 547518"/>
              <a:gd name="connsiteY20" fmla="*/ 501952 h 547611"/>
              <a:gd name="connsiteX21" fmla="*/ 265254 w 547518"/>
              <a:gd name="connsiteY21" fmla="*/ 511698 h 547611"/>
              <a:gd name="connsiteX22" fmla="*/ 189236 w 547518"/>
              <a:gd name="connsiteY22" fmla="*/ 547612 h 547611"/>
              <a:gd name="connsiteX23" fmla="*/ 97276 w 547518"/>
              <a:gd name="connsiteY23" fmla="*/ 501905 h 547611"/>
              <a:gd name="connsiteX24" fmla="*/ 69359 w 547518"/>
              <a:gd name="connsiteY24" fmla="*/ 443361 h 547611"/>
              <a:gd name="connsiteX25" fmla="*/ 34580 w 547518"/>
              <a:gd name="connsiteY25" fmla="*/ 424471 h 547611"/>
              <a:gd name="connsiteX26" fmla="*/ 0 w 547518"/>
              <a:gd name="connsiteY26" fmla="*/ 341341 h 547611"/>
              <a:gd name="connsiteX27" fmla="*/ 15742 w 547518"/>
              <a:gd name="connsiteY27" fmla="*/ 261126 h 547611"/>
              <a:gd name="connsiteX28" fmla="*/ 40247 w 547518"/>
              <a:gd name="connsiteY28" fmla="*/ 238920 h 547611"/>
              <a:gd name="connsiteX29" fmla="*/ 42047 w 547518"/>
              <a:gd name="connsiteY29" fmla="*/ 238109 h 547611"/>
              <a:gd name="connsiteX30" fmla="*/ 37185 w 547518"/>
              <a:gd name="connsiteY30" fmla="*/ 207246 h 547611"/>
              <a:gd name="connsiteX31" fmla="*/ 45264 w 547518"/>
              <a:gd name="connsiteY31" fmla="*/ 147494 h 547611"/>
              <a:gd name="connsiteX32" fmla="*/ 73699 w 547518"/>
              <a:gd name="connsiteY32" fmla="*/ 98905 h 547611"/>
              <a:gd name="connsiteX33" fmla="*/ 103708 w 547518"/>
              <a:gd name="connsiteY33" fmla="*/ 83374 h 547611"/>
              <a:gd name="connsiteX34" fmla="*/ 140769 w 547518"/>
              <a:gd name="connsiteY34" fmla="*/ 27549 h 547611"/>
              <a:gd name="connsiteX35" fmla="*/ 166010 w 547518"/>
              <a:gd name="connsiteY35" fmla="*/ 59973 h 547611"/>
              <a:gd name="connsiteX36" fmla="*/ 142305 w 547518"/>
              <a:gd name="connsiteY36" fmla="*/ 104965 h 547611"/>
              <a:gd name="connsiteX37" fmla="*/ 133771 w 547518"/>
              <a:gd name="connsiteY37" fmla="*/ 121634 h 547611"/>
              <a:gd name="connsiteX38" fmla="*/ 115258 w 547518"/>
              <a:gd name="connsiteY38" fmla="*/ 124455 h 547611"/>
              <a:gd name="connsiteX39" fmla="*/ 101817 w 547518"/>
              <a:gd name="connsiteY39" fmla="*/ 128869 h 547611"/>
              <a:gd name="connsiteX40" fmla="*/ 84389 w 547518"/>
              <a:gd name="connsiteY40" fmla="*/ 160053 h 547611"/>
              <a:gd name="connsiteX41" fmla="*/ 78235 w 547518"/>
              <a:gd name="connsiteY41" fmla="*/ 205401 h 547611"/>
              <a:gd name="connsiteX42" fmla="*/ 88252 w 547518"/>
              <a:gd name="connsiteY42" fmla="*/ 241843 h 547611"/>
              <a:gd name="connsiteX43" fmla="*/ 90524 w 547518"/>
              <a:gd name="connsiteY43" fmla="*/ 246385 h 547611"/>
              <a:gd name="connsiteX44" fmla="*/ 120167 w 547518"/>
              <a:gd name="connsiteY44" fmla="*/ 246385 h 547611"/>
              <a:gd name="connsiteX45" fmla="*/ 198036 w 547518"/>
              <a:gd name="connsiteY45" fmla="*/ 318768 h 547611"/>
              <a:gd name="connsiteX46" fmla="*/ 232488 w 547518"/>
              <a:gd name="connsiteY46" fmla="*/ 369658 h 547611"/>
              <a:gd name="connsiteX47" fmla="*/ 177700 w 547518"/>
              <a:gd name="connsiteY47" fmla="*/ 424446 h 547611"/>
              <a:gd name="connsiteX48" fmla="*/ 122912 w 547518"/>
              <a:gd name="connsiteY48" fmla="*/ 369658 h 547611"/>
              <a:gd name="connsiteX49" fmla="*/ 156752 w 547518"/>
              <a:gd name="connsiteY49" fmla="*/ 319017 h 547611"/>
              <a:gd name="connsiteX50" fmla="*/ 120167 w 547518"/>
              <a:gd name="connsiteY50" fmla="*/ 287476 h 547611"/>
              <a:gd name="connsiteX51" fmla="*/ 48943 w 547518"/>
              <a:gd name="connsiteY51" fmla="*/ 287476 h 547611"/>
              <a:gd name="connsiteX52" fmla="*/ 48254 w 547518"/>
              <a:gd name="connsiteY52" fmla="*/ 287465 h 547611"/>
              <a:gd name="connsiteX53" fmla="*/ 41091 w 547518"/>
              <a:gd name="connsiteY53" fmla="*/ 341341 h 547611"/>
              <a:gd name="connsiteX54" fmla="*/ 61335 w 547518"/>
              <a:gd name="connsiteY54" fmla="*/ 393285 h 547611"/>
              <a:gd name="connsiteX55" fmla="*/ 88022 w 547518"/>
              <a:gd name="connsiteY55" fmla="*/ 405215 h 547611"/>
              <a:gd name="connsiteX56" fmla="*/ 108567 w 547518"/>
              <a:gd name="connsiteY56" fmla="*/ 425761 h 547611"/>
              <a:gd name="connsiteX57" fmla="*/ 129374 w 547518"/>
              <a:gd name="connsiteY57" fmla="*/ 476251 h 547611"/>
              <a:gd name="connsiteX58" fmla="*/ 189236 w 547518"/>
              <a:gd name="connsiteY58" fmla="*/ 506521 h 547611"/>
              <a:gd name="connsiteX59" fmla="*/ 235517 w 547518"/>
              <a:gd name="connsiteY59" fmla="*/ 483340 h 547611"/>
              <a:gd name="connsiteX60" fmla="*/ 249718 w 547518"/>
              <a:gd name="connsiteY60" fmla="*/ 464570 h 547611"/>
              <a:gd name="connsiteX61" fmla="*/ 252893 w 547518"/>
              <a:gd name="connsiteY61" fmla="*/ 458192 h 547611"/>
              <a:gd name="connsiteX62" fmla="*/ 253036 w 547518"/>
              <a:gd name="connsiteY62" fmla="*/ 457820 h 547611"/>
              <a:gd name="connsiteX63" fmla="*/ 253036 w 547518"/>
              <a:gd name="connsiteY63" fmla="*/ 390557 h 547611"/>
              <a:gd name="connsiteX64" fmla="*/ 253033 w 547518"/>
              <a:gd name="connsiteY64" fmla="*/ 390203 h 547611"/>
              <a:gd name="connsiteX65" fmla="*/ 253036 w 547518"/>
              <a:gd name="connsiteY65" fmla="*/ 389850 h 547611"/>
              <a:gd name="connsiteX66" fmla="*/ 253036 w 547518"/>
              <a:gd name="connsiteY66" fmla="*/ 198445 h 547611"/>
              <a:gd name="connsiteX67" fmla="*/ 228505 w 547518"/>
              <a:gd name="connsiteY67" fmla="*/ 198445 h 547611"/>
              <a:gd name="connsiteX68" fmla="*/ 177700 w 547518"/>
              <a:gd name="connsiteY68" fmla="*/ 232688 h 547611"/>
              <a:gd name="connsiteX69" fmla="*/ 122912 w 547518"/>
              <a:gd name="connsiteY69" fmla="*/ 177900 h 547611"/>
              <a:gd name="connsiteX70" fmla="*/ 177700 w 547518"/>
              <a:gd name="connsiteY70" fmla="*/ 123112 h 547611"/>
              <a:gd name="connsiteX71" fmla="*/ 228505 w 547518"/>
              <a:gd name="connsiteY71" fmla="*/ 157354 h 547611"/>
              <a:gd name="connsiteX72" fmla="*/ 253036 w 547518"/>
              <a:gd name="connsiteY72" fmla="*/ 157354 h 547611"/>
              <a:gd name="connsiteX73" fmla="*/ 253036 w 547518"/>
              <a:gd name="connsiteY73" fmla="*/ 88147 h 547611"/>
              <a:gd name="connsiteX74" fmla="*/ 253030 w 547518"/>
              <a:gd name="connsiteY74" fmla="*/ 87836 h 547611"/>
              <a:gd name="connsiteX75" fmla="*/ 252967 w 547518"/>
              <a:gd name="connsiteY75" fmla="*/ 86278 h 547611"/>
              <a:gd name="connsiteX76" fmla="*/ 252403 w 547518"/>
              <a:gd name="connsiteY76" fmla="*/ 80075 h 547611"/>
              <a:gd name="connsiteX77" fmla="*/ 248017 w 547518"/>
              <a:gd name="connsiteY77" fmla="*/ 61522 h 547611"/>
              <a:gd name="connsiteX78" fmla="*/ 238575 w 547518"/>
              <a:gd name="connsiteY78" fmla="*/ 46448 h 547611"/>
              <a:gd name="connsiteX79" fmla="*/ 222974 w 547518"/>
              <a:gd name="connsiteY79" fmla="*/ 41091 h 547611"/>
              <a:gd name="connsiteX80" fmla="*/ 166010 w 547518"/>
              <a:gd name="connsiteY80" fmla="*/ 59973 h 547611"/>
              <a:gd name="connsiteX81" fmla="*/ 294483 w 547518"/>
              <a:gd name="connsiteY81" fmla="*/ 410749 h 547611"/>
              <a:gd name="connsiteX82" fmla="*/ 294483 w 547518"/>
              <a:gd name="connsiteY82" fmla="*/ 457820 h 547611"/>
              <a:gd name="connsiteX83" fmla="*/ 294623 w 547518"/>
              <a:gd name="connsiteY83" fmla="*/ 458192 h 547611"/>
              <a:gd name="connsiteX84" fmla="*/ 297800 w 547518"/>
              <a:gd name="connsiteY84" fmla="*/ 464570 h 547611"/>
              <a:gd name="connsiteX85" fmla="*/ 311999 w 547518"/>
              <a:gd name="connsiteY85" fmla="*/ 483340 h 547611"/>
              <a:gd name="connsiteX86" fmla="*/ 358281 w 547518"/>
              <a:gd name="connsiteY86" fmla="*/ 506521 h 547611"/>
              <a:gd name="connsiteX87" fmla="*/ 418145 w 547518"/>
              <a:gd name="connsiteY87" fmla="*/ 476251 h 547611"/>
              <a:gd name="connsiteX88" fmla="*/ 438950 w 547518"/>
              <a:gd name="connsiteY88" fmla="*/ 425761 h 547611"/>
              <a:gd name="connsiteX89" fmla="*/ 459496 w 547518"/>
              <a:gd name="connsiteY89" fmla="*/ 405215 h 547611"/>
              <a:gd name="connsiteX90" fmla="*/ 486183 w 547518"/>
              <a:gd name="connsiteY90" fmla="*/ 393285 h 547611"/>
              <a:gd name="connsiteX91" fmla="*/ 506427 w 547518"/>
              <a:gd name="connsiteY91" fmla="*/ 341341 h 547611"/>
              <a:gd name="connsiteX92" fmla="*/ 496867 w 547518"/>
              <a:gd name="connsiteY92" fmla="*/ 282800 h 547611"/>
              <a:gd name="connsiteX93" fmla="*/ 489742 w 547518"/>
              <a:gd name="connsiteY93" fmla="*/ 276086 h 547611"/>
              <a:gd name="connsiteX94" fmla="*/ 476365 w 547518"/>
              <a:gd name="connsiteY94" fmla="*/ 273779 h 547611"/>
              <a:gd name="connsiteX95" fmla="*/ 458252 w 547518"/>
              <a:gd name="connsiteY95" fmla="*/ 262931 h 547611"/>
              <a:gd name="connsiteX96" fmla="*/ 459266 w 547518"/>
              <a:gd name="connsiteY96" fmla="*/ 241843 h 547611"/>
              <a:gd name="connsiteX97" fmla="*/ 469284 w 547518"/>
              <a:gd name="connsiteY97" fmla="*/ 205401 h 547611"/>
              <a:gd name="connsiteX98" fmla="*/ 463128 w 547518"/>
              <a:gd name="connsiteY98" fmla="*/ 160053 h 547611"/>
              <a:gd name="connsiteX99" fmla="*/ 445700 w 547518"/>
              <a:gd name="connsiteY99" fmla="*/ 128869 h 547611"/>
              <a:gd name="connsiteX100" fmla="*/ 432261 w 547518"/>
              <a:gd name="connsiteY100" fmla="*/ 124455 h 547611"/>
              <a:gd name="connsiteX101" fmla="*/ 413748 w 547518"/>
              <a:gd name="connsiteY101" fmla="*/ 121634 h 547611"/>
              <a:gd name="connsiteX102" fmla="*/ 405212 w 547518"/>
              <a:gd name="connsiteY102" fmla="*/ 104965 h 547611"/>
              <a:gd name="connsiteX103" fmla="*/ 381508 w 547518"/>
              <a:gd name="connsiteY103" fmla="*/ 59973 h 547611"/>
              <a:gd name="connsiteX104" fmla="*/ 324545 w 547518"/>
              <a:gd name="connsiteY104" fmla="*/ 41091 h 547611"/>
              <a:gd name="connsiteX105" fmla="*/ 308944 w 547518"/>
              <a:gd name="connsiteY105" fmla="*/ 46448 h 547611"/>
              <a:gd name="connsiteX106" fmla="*/ 299501 w 547518"/>
              <a:gd name="connsiteY106" fmla="*/ 61522 h 547611"/>
              <a:gd name="connsiteX107" fmla="*/ 295116 w 547518"/>
              <a:gd name="connsiteY107" fmla="*/ 80075 h 547611"/>
              <a:gd name="connsiteX108" fmla="*/ 294551 w 547518"/>
              <a:gd name="connsiteY108" fmla="*/ 86278 h 547611"/>
              <a:gd name="connsiteX109" fmla="*/ 294488 w 547518"/>
              <a:gd name="connsiteY109" fmla="*/ 87836 h 547611"/>
              <a:gd name="connsiteX110" fmla="*/ 294483 w 547518"/>
              <a:gd name="connsiteY110" fmla="*/ 88147 h 547611"/>
              <a:gd name="connsiteX111" fmla="*/ 294483 w 547518"/>
              <a:gd name="connsiteY111" fmla="*/ 369658 h 547611"/>
              <a:gd name="connsiteX112" fmla="*/ 311930 w 547518"/>
              <a:gd name="connsiteY112" fmla="*/ 369658 h 547611"/>
              <a:gd name="connsiteX113" fmla="*/ 348912 w 547518"/>
              <a:gd name="connsiteY113" fmla="*/ 332676 h 547611"/>
              <a:gd name="connsiteX114" fmla="*/ 348912 w 547518"/>
              <a:gd name="connsiteY114" fmla="*/ 283493 h 547611"/>
              <a:gd name="connsiteX115" fmla="*/ 314669 w 547518"/>
              <a:gd name="connsiteY115" fmla="*/ 232688 h 547611"/>
              <a:gd name="connsiteX116" fmla="*/ 369457 w 547518"/>
              <a:gd name="connsiteY116" fmla="*/ 177900 h 547611"/>
              <a:gd name="connsiteX117" fmla="*/ 424245 w 547518"/>
              <a:gd name="connsiteY117" fmla="*/ 232688 h 547611"/>
              <a:gd name="connsiteX118" fmla="*/ 390003 w 547518"/>
              <a:gd name="connsiteY118" fmla="*/ 283493 h 547611"/>
              <a:gd name="connsiteX119" fmla="*/ 390003 w 547518"/>
              <a:gd name="connsiteY119" fmla="*/ 332676 h 547611"/>
              <a:gd name="connsiteX120" fmla="*/ 311930 w 547518"/>
              <a:gd name="connsiteY120" fmla="*/ 410749 h 547611"/>
              <a:gd name="connsiteX121" fmla="*/ 294483 w 547518"/>
              <a:gd name="connsiteY121" fmla="*/ 410749 h 547611"/>
              <a:gd name="connsiteX122" fmla="*/ 177700 w 547518"/>
              <a:gd name="connsiteY122" fmla="*/ 164203 h 547611"/>
              <a:gd name="connsiteX123" fmla="*/ 164003 w 547518"/>
              <a:gd name="connsiteY123" fmla="*/ 177900 h 547611"/>
              <a:gd name="connsiteX124" fmla="*/ 177700 w 547518"/>
              <a:gd name="connsiteY124" fmla="*/ 191597 h 547611"/>
              <a:gd name="connsiteX125" fmla="*/ 191397 w 547518"/>
              <a:gd name="connsiteY125" fmla="*/ 177900 h 547611"/>
              <a:gd name="connsiteX126" fmla="*/ 177700 w 547518"/>
              <a:gd name="connsiteY126" fmla="*/ 164203 h 547611"/>
              <a:gd name="connsiteX127" fmla="*/ 164003 w 547518"/>
              <a:gd name="connsiteY127" fmla="*/ 369658 h 547611"/>
              <a:gd name="connsiteX128" fmla="*/ 177700 w 547518"/>
              <a:gd name="connsiteY128" fmla="*/ 383355 h 547611"/>
              <a:gd name="connsiteX129" fmla="*/ 191397 w 547518"/>
              <a:gd name="connsiteY129" fmla="*/ 369658 h 547611"/>
              <a:gd name="connsiteX130" fmla="*/ 177700 w 547518"/>
              <a:gd name="connsiteY130" fmla="*/ 355961 h 547611"/>
              <a:gd name="connsiteX131" fmla="*/ 164003 w 547518"/>
              <a:gd name="connsiteY131" fmla="*/ 369658 h 547611"/>
              <a:gd name="connsiteX132" fmla="*/ 355760 w 547518"/>
              <a:gd name="connsiteY132" fmla="*/ 232688 h 547611"/>
              <a:gd name="connsiteX133" fmla="*/ 369457 w 547518"/>
              <a:gd name="connsiteY133" fmla="*/ 246385 h 547611"/>
              <a:gd name="connsiteX134" fmla="*/ 383154 w 547518"/>
              <a:gd name="connsiteY134" fmla="*/ 232688 h 547611"/>
              <a:gd name="connsiteX135" fmla="*/ 369457 w 547518"/>
              <a:gd name="connsiteY135" fmla="*/ 218991 h 547611"/>
              <a:gd name="connsiteX136" fmla="*/ 355760 w 547518"/>
              <a:gd name="connsiteY136" fmla="*/ 232688 h 5476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</a:cxnLst>
            <a:rect l="l" t="t" r="r" b="b"/>
            <a:pathLst>
              <a:path w="547518" h="547611">
                <a:moveTo>
                  <a:pt x="140769" y="27549"/>
                </a:moveTo>
                <a:cubicBezTo>
                  <a:pt x="163551" y="9814"/>
                  <a:pt x="193355" y="0"/>
                  <a:pt x="222974" y="0"/>
                </a:cubicBezTo>
                <a:cubicBezTo>
                  <a:pt x="240684" y="0"/>
                  <a:pt x="255025" y="6084"/>
                  <a:pt x="265889" y="15748"/>
                </a:cubicBezTo>
                <a:cubicBezTo>
                  <a:pt x="268828" y="18363"/>
                  <a:pt x="271439" y="21172"/>
                  <a:pt x="273759" y="24090"/>
                </a:cubicBezTo>
                <a:cubicBezTo>
                  <a:pt x="276080" y="21172"/>
                  <a:pt x="278690" y="18363"/>
                  <a:pt x="281630" y="15748"/>
                </a:cubicBezTo>
                <a:cubicBezTo>
                  <a:pt x="292491" y="6084"/>
                  <a:pt x="306835" y="0"/>
                  <a:pt x="324545" y="0"/>
                </a:cubicBezTo>
                <a:cubicBezTo>
                  <a:pt x="354163" y="0"/>
                  <a:pt x="383968" y="9814"/>
                  <a:pt x="406749" y="27549"/>
                </a:cubicBezTo>
                <a:cubicBezTo>
                  <a:pt x="424473" y="41347"/>
                  <a:pt x="438367" y="60367"/>
                  <a:pt x="443810" y="83374"/>
                </a:cubicBezTo>
                <a:cubicBezTo>
                  <a:pt x="455321" y="85277"/>
                  <a:pt x="465550" y="91144"/>
                  <a:pt x="473820" y="98905"/>
                </a:cubicBezTo>
                <a:cubicBezTo>
                  <a:pt x="486988" y="111263"/>
                  <a:pt x="496354" y="129118"/>
                  <a:pt x="502255" y="147494"/>
                </a:cubicBezTo>
                <a:cubicBezTo>
                  <a:pt x="508241" y="166148"/>
                  <a:pt x="511238" y="187117"/>
                  <a:pt x="510334" y="207246"/>
                </a:cubicBezTo>
                <a:cubicBezTo>
                  <a:pt x="509871" y="217551"/>
                  <a:pt x="508361" y="228053"/>
                  <a:pt x="505471" y="238109"/>
                </a:cubicBezTo>
                <a:cubicBezTo>
                  <a:pt x="506074" y="238370"/>
                  <a:pt x="506674" y="238641"/>
                  <a:pt x="507271" y="238920"/>
                </a:cubicBezTo>
                <a:cubicBezTo>
                  <a:pt x="517412" y="243703"/>
                  <a:pt x="525608" y="251190"/>
                  <a:pt x="531775" y="261126"/>
                </a:cubicBezTo>
                <a:cubicBezTo>
                  <a:pt x="543420" y="279882"/>
                  <a:pt x="547518" y="306909"/>
                  <a:pt x="547518" y="341341"/>
                </a:cubicBezTo>
                <a:cubicBezTo>
                  <a:pt x="547518" y="380911"/>
                  <a:pt x="532394" y="407782"/>
                  <a:pt x="512939" y="424471"/>
                </a:cubicBezTo>
                <a:cubicBezTo>
                  <a:pt x="501650" y="434154"/>
                  <a:pt x="489191" y="440156"/>
                  <a:pt x="478159" y="443361"/>
                </a:cubicBezTo>
                <a:cubicBezTo>
                  <a:pt x="474338" y="462334"/>
                  <a:pt x="464780" y="483715"/>
                  <a:pt x="450242" y="501905"/>
                </a:cubicBezTo>
                <a:cubicBezTo>
                  <a:pt x="430442" y="526677"/>
                  <a:pt x="399665" y="547612"/>
                  <a:pt x="358281" y="547612"/>
                </a:cubicBezTo>
                <a:cubicBezTo>
                  <a:pt x="325126" y="547612"/>
                  <a:pt x="299028" y="529277"/>
                  <a:pt x="282262" y="511698"/>
                </a:cubicBezTo>
                <a:cubicBezTo>
                  <a:pt x="279197" y="508482"/>
                  <a:pt x="276356" y="505209"/>
                  <a:pt x="273759" y="501952"/>
                </a:cubicBezTo>
                <a:cubicBezTo>
                  <a:pt x="271160" y="505209"/>
                  <a:pt x="268322" y="508482"/>
                  <a:pt x="265254" y="511698"/>
                </a:cubicBezTo>
                <a:cubicBezTo>
                  <a:pt x="248491" y="529277"/>
                  <a:pt x="222390" y="547612"/>
                  <a:pt x="189236" y="547612"/>
                </a:cubicBezTo>
                <a:cubicBezTo>
                  <a:pt x="147853" y="547612"/>
                  <a:pt x="117077" y="526677"/>
                  <a:pt x="97276" y="501905"/>
                </a:cubicBezTo>
                <a:cubicBezTo>
                  <a:pt x="82737" y="483715"/>
                  <a:pt x="73180" y="462334"/>
                  <a:pt x="69359" y="443361"/>
                </a:cubicBezTo>
                <a:cubicBezTo>
                  <a:pt x="58327" y="440156"/>
                  <a:pt x="45868" y="434154"/>
                  <a:pt x="34580" y="424471"/>
                </a:cubicBezTo>
                <a:cubicBezTo>
                  <a:pt x="15125" y="407782"/>
                  <a:pt x="0" y="380911"/>
                  <a:pt x="0" y="341341"/>
                </a:cubicBezTo>
                <a:cubicBezTo>
                  <a:pt x="0" y="306909"/>
                  <a:pt x="4097" y="279882"/>
                  <a:pt x="15742" y="261126"/>
                </a:cubicBezTo>
                <a:cubicBezTo>
                  <a:pt x="21910" y="251190"/>
                  <a:pt x="30107" y="243703"/>
                  <a:pt x="40247" y="238920"/>
                </a:cubicBezTo>
                <a:cubicBezTo>
                  <a:pt x="40844" y="238641"/>
                  <a:pt x="41444" y="238370"/>
                  <a:pt x="42047" y="238109"/>
                </a:cubicBezTo>
                <a:cubicBezTo>
                  <a:pt x="39157" y="228053"/>
                  <a:pt x="37649" y="217551"/>
                  <a:pt x="37185" y="207246"/>
                </a:cubicBezTo>
                <a:cubicBezTo>
                  <a:pt x="36281" y="187117"/>
                  <a:pt x="39277" y="166148"/>
                  <a:pt x="45264" y="147494"/>
                </a:cubicBezTo>
                <a:cubicBezTo>
                  <a:pt x="51163" y="129118"/>
                  <a:pt x="60529" y="111263"/>
                  <a:pt x="73699" y="98905"/>
                </a:cubicBezTo>
                <a:cubicBezTo>
                  <a:pt x="81970" y="91144"/>
                  <a:pt x="92198" y="85277"/>
                  <a:pt x="103708" y="83374"/>
                </a:cubicBezTo>
                <a:cubicBezTo>
                  <a:pt x="109152" y="60367"/>
                  <a:pt x="123044" y="41347"/>
                  <a:pt x="140769" y="27549"/>
                </a:cubicBezTo>
                <a:close/>
                <a:moveTo>
                  <a:pt x="166010" y="59973"/>
                </a:moveTo>
                <a:cubicBezTo>
                  <a:pt x="151060" y="71612"/>
                  <a:pt x="142305" y="87116"/>
                  <a:pt x="142305" y="104965"/>
                </a:cubicBezTo>
                <a:cubicBezTo>
                  <a:pt x="142305" y="111571"/>
                  <a:pt x="139130" y="117773"/>
                  <a:pt x="133771" y="121634"/>
                </a:cubicBezTo>
                <a:cubicBezTo>
                  <a:pt x="128412" y="125496"/>
                  <a:pt x="121523" y="126545"/>
                  <a:pt x="115258" y="124455"/>
                </a:cubicBezTo>
                <a:cubicBezTo>
                  <a:pt x="111494" y="123199"/>
                  <a:pt x="107533" y="123505"/>
                  <a:pt x="101817" y="128869"/>
                </a:cubicBezTo>
                <a:cubicBezTo>
                  <a:pt x="95483" y="134813"/>
                  <a:pt x="89034" y="145583"/>
                  <a:pt x="84389" y="160053"/>
                </a:cubicBezTo>
                <a:cubicBezTo>
                  <a:pt x="79834" y="174245"/>
                  <a:pt x="77558" y="190343"/>
                  <a:pt x="78235" y="205401"/>
                </a:cubicBezTo>
                <a:cubicBezTo>
                  <a:pt x="78920" y="220648"/>
                  <a:pt x="82546" y="233277"/>
                  <a:pt x="88252" y="241843"/>
                </a:cubicBezTo>
                <a:cubicBezTo>
                  <a:pt x="89207" y="243279"/>
                  <a:pt x="89965" y="244804"/>
                  <a:pt x="90524" y="246385"/>
                </a:cubicBezTo>
                <a:lnTo>
                  <a:pt x="120167" y="246385"/>
                </a:lnTo>
                <a:cubicBezTo>
                  <a:pt x="161372" y="246385"/>
                  <a:pt x="195121" y="278307"/>
                  <a:pt x="198036" y="318768"/>
                </a:cubicBezTo>
                <a:cubicBezTo>
                  <a:pt x="218225" y="326844"/>
                  <a:pt x="232488" y="346584"/>
                  <a:pt x="232488" y="369658"/>
                </a:cubicBezTo>
                <a:cubicBezTo>
                  <a:pt x="232488" y="399917"/>
                  <a:pt x="207958" y="424446"/>
                  <a:pt x="177700" y="424446"/>
                </a:cubicBezTo>
                <a:cubicBezTo>
                  <a:pt x="147441" y="424446"/>
                  <a:pt x="122912" y="399917"/>
                  <a:pt x="122912" y="369658"/>
                </a:cubicBezTo>
                <a:cubicBezTo>
                  <a:pt x="122912" y="346820"/>
                  <a:pt x="136887" y="327244"/>
                  <a:pt x="156752" y="319017"/>
                </a:cubicBezTo>
                <a:cubicBezTo>
                  <a:pt x="154120" y="301173"/>
                  <a:pt x="138743" y="287476"/>
                  <a:pt x="120167" y="287476"/>
                </a:cubicBezTo>
                <a:lnTo>
                  <a:pt x="48943" y="287476"/>
                </a:lnTo>
                <a:cubicBezTo>
                  <a:pt x="48712" y="287476"/>
                  <a:pt x="48483" y="287473"/>
                  <a:pt x="48254" y="287465"/>
                </a:cubicBezTo>
                <a:cubicBezTo>
                  <a:pt x="44165" y="296998"/>
                  <a:pt x="41091" y="313473"/>
                  <a:pt x="41091" y="341341"/>
                </a:cubicBezTo>
                <a:cubicBezTo>
                  <a:pt x="41091" y="369307"/>
                  <a:pt x="51269" y="384648"/>
                  <a:pt x="61335" y="393285"/>
                </a:cubicBezTo>
                <a:cubicBezTo>
                  <a:pt x="72381" y="402761"/>
                  <a:pt x="84508" y="405215"/>
                  <a:pt x="88022" y="405215"/>
                </a:cubicBezTo>
                <a:cubicBezTo>
                  <a:pt x="99369" y="405215"/>
                  <a:pt x="108567" y="414414"/>
                  <a:pt x="108567" y="425761"/>
                </a:cubicBezTo>
                <a:cubicBezTo>
                  <a:pt x="108567" y="437242"/>
                  <a:pt x="114917" y="458162"/>
                  <a:pt x="129374" y="476251"/>
                </a:cubicBezTo>
                <a:cubicBezTo>
                  <a:pt x="143312" y="493687"/>
                  <a:pt x="163143" y="506521"/>
                  <a:pt x="189236" y="506521"/>
                </a:cubicBezTo>
                <a:cubicBezTo>
                  <a:pt x="206688" y="506521"/>
                  <a:pt x="222763" y="496714"/>
                  <a:pt x="235517" y="483340"/>
                </a:cubicBezTo>
                <a:cubicBezTo>
                  <a:pt x="241730" y="476826"/>
                  <a:pt x="246554" y="470060"/>
                  <a:pt x="249718" y="464570"/>
                </a:cubicBezTo>
                <a:cubicBezTo>
                  <a:pt x="251305" y="461819"/>
                  <a:pt x="252329" y="459639"/>
                  <a:pt x="252893" y="458192"/>
                </a:cubicBezTo>
                <a:lnTo>
                  <a:pt x="253036" y="457820"/>
                </a:lnTo>
                <a:lnTo>
                  <a:pt x="253036" y="390557"/>
                </a:lnTo>
                <a:cubicBezTo>
                  <a:pt x="253033" y="390439"/>
                  <a:pt x="253033" y="390321"/>
                  <a:pt x="253033" y="390203"/>
                </a:cubicBezTo>
                <a:cubicBezTo>
                  <a:pt x="253033" y="390086"/>
                  <a:pt x="253033" y="389968"/>
                  <a:pt x="253036" y="389850"/>
                </a:cubicBezTo>
                <a:lnTo>
                  <a:pt x="253036" y="198445"/>
                </a:lnTo>
                <a:lnTo>
                  <a:pt x="228505" y="198445"/>
                </a:lnTo>
                <a:cubicBezTo>
                  <a:pt x="220377" y="218524"/>
                  <a:pt x="200693" y="232688"/>
                  <a:pt x="177700" y="232688"/>
                </a:cubicBezTo>
                <a:cubicBezTo>
                  <a:pt x="147441" y="232688"/>
                  <a:pt x="122912" y="208159"/>
                  <a:pt x="122912" y="177900"/>
                </a:cubicBezTo>
                <a:cubicBezTo>
                  <a:pt x="122912" y="147642"/>
                  <a:pt x="147441" y="123112"/>
                  <a:pt x="177700" y="123112"/>
                </a:cubicBezTo>
                <a:cubicBezTo>
                  <a:pt x="200693" y="123112"/>
                  <a:pt x="220377" y="137276"/>
                  <a:pt x="228505" y="157354"/>
                </a:cubicBezTo>
                <a:lnTo>
                  <a:pt x="253036" y="157354"/>
                </a:lnTo>
                <a:lnTo>
                  <a:pt x="253036" y="88147"/>
                </a:lnTo>
                <a:lnTo>
                  <a:pt x="253030" y="87836"/>
                </a:lnTo>
                <a:cubicBezTo>
                  <a:pt x="253022" y="87523"/>
                  <a:pt x="253006" y="86993"/>
                  <a:pt x="252967" y="86278"/>
                </a:cubicBezTo>
                <a:cubicBezTo>
                  <a:pt x="252891" y="84841"/>
                  <a:pt x="252732" y="82691"/>
                  <a:pt x="252403" y="80075"/>
                </a:cubicBezTo>
                <a:cubicBezTo>
                  <a:pt x="251737" y="74736"/>
                  <a:pt x="250436" y="67982"/>
                  <a:pt x="248017" y="61522"/>
                </a:cubicBezTo>
                <a:cubicBezTo>
                  <a:pt x="245563" y="54976"/>
                  <a:pt x="242371" y="49825"/>
                  <a:pt x="238575" y="46448"/>
                </a:cubicBezTo>
                <a:cubicBezTo>
                  <a:pt x="235205" y="43449"/>
                  <a:pt x="230570" y="41091"/>
                  <a:pt x="222974" y="41091"/>
                </a:cubicBezTo>
                <a:cubicBezTo>
                  <a:pt x="201987" y="41091"/>
                  <a:pt x="181183" y="48161"/>
                  <a:pt x="166010" y="59973"/>
                </a:cubicBezTo>
                <a:close/>
                <a:moveTo>
                  <a:pt x="294483" y="410749"/>
                </a:moveTo>
                <a:lnTo>
                  <a:pt x="294483" y="457820"/>
                </a:lnTo>
                <a:lnTo>
                  <a:pt x="294623" y="458192"/>
                </a:lnTo>
                <a:cubicBezTo>
                  <a:pt x="295190" y="459639"/>
                  <a:pt x="296214" y="461819"/>
                  <a:pt x="297800" y="464570"/>
                </a:cubicBezTo>
                <a:cubicBezTo>
                  <a:pt x="300962" y="470060"/>
                  <a:pt x="305786" y="476826"/>
                  <a:pt x="311999" y="483340"/>
                </a:cubicBezTo>
                <a:cubicBezTo>
                  <a:pt x="324756" y="496714"/>
                  <a:pt x="340831" y="506521"/>
                  <a:pt x="358281" y="506521"/>
                </a:cubicBezTo>
                <a:cubicBezTo>
                  <a:pt x="384376" y="506521"/>
                  <a:pt x="404207" y="493687"/>
                  <a:pt x="418145" y="476251"/>
                </a:cubicBezTo>
                <a:cubicBezTo>
                  <a:pt x="432600" y="458162"/>
                  <a:pt x="438950" y="437242"/>
                  <a:pt x="438950" y="425761"/>
                </a:cubicBezTo>
                <a:cubicBezTo>
                  <a:pt x="438950" y="414414"/>
                  <a:pt x="448149" y="405215"/>
                  <a:pt x="459496" y="405215"/>
                </a:cubicBezTo>
                <a:cubicBezTo>
                  <a:pt x="463011" y="405215"/>
                  <a:pt x="475138" y="402761"/>
                  <a:pt x="486183" y="393285"/>
                </a:cubicBezTo>
                <a:cubicBezTo>
                  <a:pt x="496248" y="384648"/>
                  <a:pt x="506427" y="369307"/>
                  <a:pt x="506427" y="341341"/>
                </a:cubicBezTo>
                <a:cubicBezTo>
                  <a:pt x="506427" y="308238"/>
                  <a:pt x="502091" y="291213"/>
                  <a:pt x="496867" y="282800"/>
                </a:cubicBezTo>
                <a:cubicBezTo>
                  <a:pt x="494598" y="279148"/>
                  <a:pt x="492254" y="277269"/>
                  <a:pt x="489742" y="276086"/>
                </a:cubicBezTo>
                <a:cubicBezTo>
                  <a:pt x="486961" y="274773"/>
                  <a:pt x="482808" y="273779"/>
                  <a:pt x="476365" y="273779"/>
                </a:cubicBezTo>
                <a:cubicBezTo>
                  <a:pt x="468791" y="273779"/>
                  <a:pt x="461830" y="269610"/>
                  <a:pt x="458252" y="262931"/>
                </a:cubicBezTo>
                <a:cubicBezTo>
                  <a:pt x="454677" y="256252"/>
                  <a:pt x="455066" y="248149"/>
                  <a:pt x="459266" y="241843"/>
                </a:cubicBezTo>
                <a:cubicBezTo>
                  <a:pt x="464972" y="233277"/>
                  <a:pt x="468599" y="220648"/>
                  <a:pt x="469284" y="205401"/>
                </a:cubicBezTo>
                <a:cubicBezTo>
                  <a:pt x="469960" y="190343"/>
                  <a:pt x="467684" y="174245"/>
                  <a:pt x="463128" y="160053"/>
                </a:cubicBezTo>
                <a:cubicBezTo>
                  <a:pt x="458485" y="145583"/>
                  <a:pt x="452036" y="134813"/>
                  <a:pt x="445700" y="128869"/>
                </a:cubicBezTo>
                <a:cubicBezTo>
                  <a:pt x="439986" y="123505"/>
                  <a:pt x="436025" y="123199"/>
                  <a:pt x="432261" y="124455"/>
                </a:cubicBezTo>
                <a:cubicBezTo>
                  <a:pt x="425996" y="126545"/>
                  <a:pt x="419106" y="125496"/>
                  <a:pt x="413748" y="121634"/>
                </a:cubicBezTo>
                <a:cubicBezTo>
                  <a:pt x="408390" y="117773"/>
                  <a:pt x="405212" y="111571"/>
                  <a:pt x="405212" y="104965"/>
                </a:cubicBezTo>
                <a:cubicBezTo>
                  <a:pt x="405212" y="87116"/>
                  <a:pt x="396460" y="71612"/>
                  <a:pt x="381508" y="59973"/>
                </a:cubicBezTo>
                <a:cubicBezTo>
                  <a:pt x="366334" y="48161"/>
                  <a:pt x="345532" y="41091"/>
                  <a:pt x="324545" y="41091"/>
                </a:cubicBezTo>
                <a:cubicBezTo>
                  <a:pt x="316949" y="41091"/>
                  <a:pt x="312314" y="43449"/>
                  <a:pt x="308944" y="46448"/>
                </a:cubicBezTo>
                <a:cubicBezTo>
                  <a:pt x="305147" y="49825"/>
                  <a:pt x="301956" y="54976"/>
                  <a:pt x="299501" y="61522"/>
                </a:cubicBezTo>
                <a:cubicBezTo>
                  <a:pt x="297083" y="67982"/>
                  <a:pt x="295781" y="74736"/>
                  <a:pt x="295116" y="80075"/>
                </a:cubicBezTo>
                <a:cubicBezTo>
                  <a:pt x="294787" y="82691"/>
                  <a:pt x="294628" y="84841"/>
                  <a:pt x="294551" y="86278"/>
                </a:cubicBezTo>
                <a:cubicBezTo>
                  <a:pt x="294513" y="86993"/>
                  <a:pt x="294497" y="87523"/>
                  <a:pt x="294488" y="87836"/>
                </a:cubicBezTo>
                <a:lnTo>
                  <a:pt x="294483" y="88147"/>
                </a:lnTo>
                <a:lnTo>
                  <a:pt x="294483" y="369658"/>
                </a:lnTo>
                <a:lnTo>
                  <a:pt x="311930" y="369658"/>
                </a:lnTo>
                <a:cubicBezTo>
                  <a:pt x="332355" y="369658"/>
                  <a:pt x="348912" y="353101"/>
                  <a:pt x="348912" y="332676"/>
                </a:cubicBezTo>
                <a:lnTo>
                  <a:pt x="348912" y="283493"/>
                </a:lnTo>
                <a:cubicBezTo>
                  <a:pt x="328832" y="275365"/>
                  <a:pt x="314669" y="255680"/>
                  <a:pt x="314669" y="232688"/>
                </a:cubicBezTo>
                <a:cubicBezTo>
                  <a:pt x="314669" y="202430"/>
                  <a:pt x="339198" y="177900"/>
                  <a:pt x="369457" y="177900"/>
                </a:cubicBezTo>
                <a:cubicBezTo>
                  <a:pt x="399717" y="177900"/>
                  <a:pt x="424245" y="202430"/>
                  <a:pt x="424245" y="232688"/>
                </a:cubicBezTo>
                <a:cubicBezTo>
                  <a:pt x="424245" y="255680"/>
                  <a:pt x="410083" y="275365"/>
                  <a:pt x="390003" y="283493"/>
                </a:cubicBezTo>
                <a:lnTo>
                  <a:pt x="390003" y="332676"/>
                </a:lnTo>
                <a:cubicBezTo>
                  <a:pt x="390003" y="375794"/>
                  <a:pt x="355048" y="410749"/>
                  <a:pt x="311930" y="410749"/>
                </a:cubicBezTo>
                <a:lnTo>
                  <a:pt x="294483" y="410749"/>
                </a:lnTo>
                <a:close/>
                <a:moveTo>
                  <a:pt x="177700" y="164203"/>
                </a:moveTo>
                <a:cubicBezTo>
                  <a:pt x="170135" y="164203"/>
                  <a:pt x="164003" y="170336"/>
                  <a:pt x="164003" y="177900"/>
                </a:cubicBezTo>
                <a:cubicBezTo>
                  <a:pt x="164003" y="185465"/>
                  <a:pt x="170135" y="191597"/>
                  <a:pt x="177700" y="191597"/>
                </a:cubicBezTo>
                <a:cubicBezTo>
                  <a:pt x="185264" y="191597"/>
                  <a:pt x="191397" y="185465"/>
                  <a:pt x="191397" y="177900"/>
                </a:cubicBezTo>
                <a:cubicBezTo>
                  <a:pt x="191397" y="170336"/>
                  <a:pt x="185264" y="164203"/>
                  <a:pt x="177700" y="164203"/>
                </a:cubicBezTo>
                <a:close/>
                <a:moveTo>
                  <a:pt x="164003" y="369658"/>
                </a:moveTo>
                <a:cubicBezTo>
                  <a:pt x="164003" y="377221"/>
                  <a:pt x="170135" y="383355"/>
                  <a:pt x="177700" y="383355"/>
                </a:cubicBezTo>
                <a:cubicBezTo>
                  <a:pt x="185264" y="383355"/>
                  <a:pt x="191397" y="377221"/>
                  <a:pt x="191397" y="369658"/>
                </a:cubicBezTo>
                <a:cubicBezTo>
                  <a:pt x="191397" y="362094"/>
                  <a:pt x="185264" y="355961"/>
                  <a:pt x="177700" y="355961"/>
                </a:cubicBezTo>
                <a:cubicBezTo>
                  <a:pt x="170135" y="355961"/>
                  <a:pt x="164003" y="362094"/>
                  <a:pt x="164003" y="369658"/>
                </a:cubicBezTo>
                <a:close/>
                <a:moveTo>
                  <a:pt x="355760" y="232688"/>
                </a:moveTo>
                <a:cubicBezTo>
                  <a:pt x="355760" y="240252"/>
                  <a:pt x="361894" y="246385"/>
                  <a:pt x="369457" y="246385"/>
                </a:cubicBezTo>
                <a:cubicBezTo>
                  <a:pt x="377021" y="246385"/>
                  <a:pt x="383154" y="240252"/>
                  <a:pt x="383154" y="232688"/>
                </a:cubicBezTo>
                <a:cubicBezTo>
                  <a:pt x="383154" y="225125"/>
                  <a:pt x="377021" y="218991"/>
                  <a:pt x="369457" y="218991"/>
                </a:cubicBezTo>
                <a:cubicBezTo>
                  <a:pt x="361894" y="218991"/>
                  <a:pt x="355760" y="225125"/>
                  <a:pt x="355760" y="232688"/>
                </a:cubicBezTo>
                <a:close/>
              </a:path>
            </a:pathLst>
          </a:custGeom>
          <a:solidFill>
            <a:schemeClr val="tx1"/>
          </a:soli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991D88B-7E37-CF32-7048-09A678157554}"/>
              </a:ext>
            </a:extLst>
          </p:cNvPr>
          <p:cNvSpPr txBox="1"/>
          <p:nvPr/>
        </p:nvSpPr>
        <p:spPr>
          <a:xfrm>
            <a:off x="9061212" y="4627651"/>
            <a:ext cx="1239122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400" dirty="0"/>
              <a:t>AI Model</a:t>
            </a:r>
          </a:p>
        </p:txBody>
      </p:sp>
      <p:sp>
        <p:nvSpPr>
          <p:cNvPr id="31" name="Speech Bubble: Rectangle with Corners Rounded 30">
            <a:extLst>
              <a:ext uri="{FF2B5EF4-FFF2-40B4-BE49-F238E27FC236}">
                <a16:creationId xmlns:a16="http://schemas.microsoft.com/office/drawing/2014/main" id="{E916E1EE-D7C3-DCA8-0489-92F8879440D0}"/>
              </a:ext>
            </a:extLst>
          </p:cNvPr>
          <p:cNvSpPr/>
          <p:nvPr/>
        </p:nvSpPr>
        <p:spPr>
          <a:xfrm>
            <a:off x="728186" y="3820143"/>
            <a:ext cx="914400" cy="270933"/>
          </a:xfrm>
          <a:prstGeom prst="wedgeRoundRectCallout">
            <a:avLst>
              <a:gd name="adj1" fmla="val -54166"/>
              <a:gd name="adj2" fmla="val 124163"/>
              <a:gd name="adj3" fmla="val 16667"/>
            </a:avLst>
          </a:prstGeom>
          <a:solidFill>
            <a:schemeClr val="accent5"/>
          </a:solidFill>
          <a:ln w="1162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32" name="Speech Bubble: Rectangle with Corners Rounded 31">
            <a:extLst>
              <a:ext uri="{FF2B5EF4-FFF2-40B4-BE49-F238E27FC236}">
                <a16:creationId xmlns:a16="http://schemas.microsoft.com/office/drawing/2014/main" id="{01BD345A-937B-C1C5-9938-E9B63D0821A9}"/>
              </a:ext>
            </a:extLst>
          </p:cNvPr>
          <p:cNvSpPr/>
          <p:nvPr/>
        </p:nvSpPr>
        <p:spPr>
          <a:xfrm flipH="1">
            <a:off x="1400392" y="4182977"/>
            <a:ext cx="914400" cy="270933"/>
          </a:xfrm>
          <a:prstGeom prst="wedgeRoundRectCallout">
            <a:avLst>
              <a:gd name="adj1" fmla="val -54166"/>
              <a:gd name="adj2" fmla="val 124163"/>
              <a:gd name="adj3" fmla="val 16667"/>
            </a:avLst>
          </a:prstGeom>
          <a:solidFill>
            <a:schemeClr val="accent5"/>
          </a:solidFill>
          <a:ln w="1162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788ED19-71F2-921B-FF19-6ACEB80BA616}"/>
              </a:ext>
            </a:extLst>
          </p:cNvPr>
          <p:cNvSpPr txBox="1"/>
          <p:nvPr/>
        </p:nvSpPr>
        <p:spPr>
          <a:xfrm>
            <a:off x="3160495" y="4442542"/>
            <a:ext cx="1520416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400" dirty="0"/>
              <a:t>WebSocket</a:t>
            </a:r>
          </a:p>
        </p:txBody>
      </p:sp>
    </p:spTree>
    <p:extLst>
      <p:ext uri="{BB962C8B-B14F-4D97-AF65-F5344CB8AC3E}">
        <p14:creationId xmlns:p14="http://schemas.microsoft.com/office/powerpoint/2010/main" val="346978646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AAB80BD-AF02-FA7B-3557-932B80ADC1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0676" y="422028"/>
            <a:ext cx="11018520" cy="553998"/>
          </a:xfrm>
        </p:spPr>
        <p:txBody>
          <a:bodyPr/>
          <a:lstStyle/>
          <a:p>
            <a:r>
              <a:rPr lang="en-US" sz="3600" dirty="0"/>
              <a:t>Reusable AI-powered Blazor components</a:t>
            </a:r>
          </a:p>
        </p:txBody>
      </p:sp>
      <p:grpSp>
        <p:nvGrpSpPr>
          <p:cNvPr id="24" name="Graphic 22" descr="Browser window outline">
            <a:extLst>
              <a:ext uri="{FF2B5EF4-FFF2-40B4-BE49-F238E27FC236}">
                <a16:creationId xmlns:a16="http://schemas.microsoft.com/office/drawing/2014/main" id="{F5604452-CA11-20A8-9FCE-86A194503D76}"/>
              </a:ext>
            </a:extLst>
          </p:cNvPr>
          <p:cNvGrpSpPr>
            <a:grpSpLocks noChangeAspect="1"/>
          </p:cNvGrpSpPr>
          <p:nvPr/>
        </p:nvGrpSpPr>
        <p:grpSpPr>
          <a:xfrm>
            <a:off x="3143250" y="1531762"/>
            <a:ext cx="5766031" cy="4468673"/>
            <a:chOff x="5715000" y="3133725"/>
            <a:chExt cx="762000" cy="590550"/>
          </a:xfrm>
          <a:solidFill>
            <a:schemeClr val="tx1"/>
          </a:solidFill>
        </p:grpSpPr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4F6DF58E-410F-20AC-5B05-39635145F6B2}"/>
                </a:ext>
              </a:extLst>
            </p:cNvPr>
            <p:cNvSpPr/>
            <p:nvPr/>
          </p:nvSpPr>
          <p:spPr>
            <a:xfrm>
              <a:off x="5715000" y="3133725"/>
              <a:ext cx="762000" cy="590550"/>
            </a:xfrm>
            <a:custGeom>
              <a:avLst/>
              <a:gdLst>
                <a:gd name="connsiteX0" fmla="*/ 0 w 762000"/>
                <a:gd name="connsiteY0" fmla="*/ 0 h 590550"/>
                <a:gd name="connsiteX1" fmla="*/ 0 w 762000"/>
                <a:gd name="connsiteY1" fmla="*/ 590550 h 590550"/>
                <a:gd name="connsiteX2" fmla="*/ 762000 w 762000"/>
                <a:gd name="connsiteY2" fmla="*/ 590550 h 590550"/>
                <a:gd name="connsiteX3" fmla="*/ 762000 w 762000"/>
                <a:gd name="connsiteY3" fmla="*/ 0 h 590550"/>
                <a:gd name="connsiteX4" fmla="*/ 742950 w 762000"/>
                <a:gd name="connsiteY4" fmla="*/ 19050 h 590550"/>
                <a:gd name="connsiteX5" fmla="*/ 742950 w 762000"/>
                <a:gd name="connsiteY5" fmla="*/ 142875 h 590550"/>
                <a:gd name="connsiteX6" fmla="*/ 19050 w 762000"/>
                <a:gd name="connsiteY6" fmla="*/ 142875 h 590550"/>
                <a:gd name="connsiteX7" fmla="*/ 19050 w 762000"/>
                <a:gd name="connsiteY7" fmla="*/ 19050 h 590550"/>
                <a:gd name="connsiteX8" fmla="*/ 19050 w 762000"/>
                <a:gd name="connsiteY8" fmla="*/ 571500 h 590550"/>
                <a:gd name="connsiteX9" fmla="*/ 19050 w 762000"/>
                <a:gd name="connsiteY9" fmla="*/ 161925 h 590550"/>
                <a:gd name="connsiteX10" fmla="*/ 742950 w 762000"/>
                <a:gd name="connsiteY10" fmla="*/ 161925 h 590550"/>
                <a:gd name="connsiteX11" fmla="*/ 742950 w 762000"/>
                <a:gd name="connsiteY11" fmla="*/ 571500 h 590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62000" h="590550">
                  <a:moveTo>
                    <a:pt x="0" y="0"/>
                  </a:moveTo>
                  <a:lnTo>
                    <a:pt x="0" y="590550"/>
                  </a:lnTo>
                  <a:lnTo>
                    <a:pt x="762000" y="590550"/>
                  </a:lnTo>
                  <a:lnTo>
                    <a:pt x="762000" y="0"/>
                  </a:lnTo>
                  <a:close/>
                  <a:moveTo>
                    <a:pt x="742950" y="19050"/>
                  </a:moveTo>
                  <a:lnTo>
                    <a:pt x="742950" y="142875"/>
                  </a:lnTo>
                  <a:lnTo>
                    <a:pt x="19050" y="142875"/>
                  </a:lnTo>
                  <a:lnTo>
                    <a:pt x="19050" y="19050"/>
                  </a:lnTo>
                  <a:close/>
                  <a:moveTo>
                    <a:pt x="19050" y="571500"/>
                  </a:moveTo>
                  <a:lnTo>
                    <a:pt x="19050" y="161925"/>
                  </a:lnTo>
                  <a:lnTo>
                    <a:pt x="742950" y="161925"/>
                  </a:lnTo>
                  <a:lnTo>
                    <a:pt x="742950" y="57150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F93DEDD4-3B20-84B2-7294-0DFEE3115280}"/>
                </a:ext>
              </a:extLst>
            </p:cNvPr>
            <p:cNvSpPr/>
            <p:nvPr/>
          </p:nvSpPr>
          <p:spPr>
            <a:xfrm>
              <a:off x="6219825" y="3190875"/>
              <a:ext cx="38100" cy="38100"/>
            </a:xfrm>
            <a:custGeom>
              <a:avLst/>
              <a:gdLst>
                <a:gd name="connsiteX0" fmla="*/ 38100 w 38100"/>
                <a:gd name="connsiteY0" fmla="*/ 19050 h 38100"/>
                <a:gd name="connsiteX1" fmla="*/ 19050 w 38100"/>
                <a:gd name="connsiteY1" fmla="*/ 38100 h 38100"/>
                <a:gd name="connsiteX2" fmla="*/ 0 w 38100"/>
                <a:gd name="connsiteY2" fmla="*/ 19050 h 38100"/>
                <a:gd name="connsiteX3" fmla="*/ 19050 w 38100"/>
                <a:gd name="connsiteY3" fmla="*/ 0 h 38100"/>
                <a:gd name="connsiteX4" fmla="*/ 38100 w 38100"/>
                <a:gd name="connsiteY4" fmla="*/ 1905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8100" y="19050"/>
                  </a:moveTo>
                  <a:cubicBezTo>
                    <a:pt x="38100" y="29571"/>
                    <a:pt x="29571" y="38100"/>
                    <a:pt x="19050" y="38100"/>
                  </a:cubicBezTo>
                  <a:cubicBezTo>
                    <a:pt x="8529" y="38100"/>
                    <a:pt x="0" y="29571"/>
                    <a:pt x="0" y="19050"/>
                  </a:cubicBezTo>
                  <a:cubicBezTo>
                    <a:pt x="0" y="8529"/>
                    <a:pt x="8529" y="0"/>
                    <a:pt x="19050" y="0"/>
                  </a:cubicBezTo>
                  <a:cubicBezTo>
                    <a:pt x="29571" y="0"/>
                    <a:pt x="38100" y="8529"/>
                    <a:pt x="38100" y="190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E7AB6B27-7DA1-F07A-019E-459D7C5C5A79}"/>
                </a:ext>
              </a:extLst>
            </p:cNvPr>
            <p:cNvSpPr/>
            <p:nvPr/>
          </p:nvSpPr>
          <p:spPr>
            <a:xfrm>
              <a:off x="6286500" y="3190875"/>
              <a:ext cx="38100" cy="38100"/>
            </a:xfrm>
            <a:custGeom>
              <a:avLst/>
              <a:gdLst>
                <a:gd name="connsiteX0" fmla="*/ 38100 w 38100"/>
                <a:gd name="connsiteY0" fmla="*/ 19050 h 38100"/>
                <a:gd name="connsiteX1" fmla="*/ 19050 w 38100"/>
                <a:gd name="connsiteY1" fmla="*/ 38100 h 38100"/>
                <a:gd name="connsiteX2" fmla="*/ 0 w 38100"/>
                <a:gd name="connsiteY2" fmla="*/ 19050 h 38100"/>
                <a:gd name="connsiteX3" fmla="*/ 19050 w 38100"/>
                <a:gd name="connsiteY3" fmla="*/ 0 h 38100"/>
                <a:gd name="connsiteX4" fmla="*/ 38100 w 38100"/>
                <a:gd name="connsiteY4" fmla="*/ 1905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8100" y="19050"/>
                  </a:moveTo>
                  <a:cubicBezTo>
                    <a:pt x="38100" y="29571"/>
                    <a:pt x="29571" y="38100"/>
                    <a:pt x="19050" y="38100"/>
                  </a:cubicBezTo>
                  <a:cubicBezTo>
                    <a:pt x="8529" y="38100"/>
                    <a:pt x="0" y="29571"/>
                    <a:pt x="0" y="19050"/>
                  </a:cubicBezTo>
                  <a:cubicBezTo>
                    <a:pt x="0" y="8529"/>
                    <a:pt x="8529" y="0"/>
                    <a:pt x="19050" y="0"/>
                  </a:cubicBezTo>
                  <a:cubicBezTo>
                    <a:pt x="29571" y="0"/>
                    <a:pt x="38100" y="8529"/>
                    <a:pt x="38100" y="190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1A257FC2-CB3E-3713-B8F0-9D0E9CDD87D0}"/>
                </a:ext>
              </a:extLst>
            </p:cNvPr>
            <p:cNvSpPr/>
            <p:nvPr/>
          </p:nvSpPr>
          <p:spPr>
            <a:xfrm>
              <a:off x="6353175" y="3190875"/>
              <a:ext cx="38100" cy="38100"/>
            </a:xfrm>
            <a:custGeom>
              <a:avLst/>
              <a:gdLst>
                <a:gd name="connsiteX0" fmla="*/ 38100 w 38100"/>
                <a:gd name="connsiteY0" fmla="*/ 19050 h 38100"/>
                <a:gd name="connsiteX1" fmla="*/ 19050 w 38100"/>
                <a:gd name="connsiteY1" fmla="*/ 38100 h 38100"/>
                <a:gd name="connsiteX2" fmla="*/ 0 w 38100"/>
                <a:gd name="connsiteY2" fmla="*/ 19050 h 38100"/>
                <a:gd name="connsiteX3" fmla="*/ 19050 w 38100"/>
                <a:gd name="connsiteY3" fmla="*/ 0 h 38100"/>
                <a:gd name="connsiteX4" fmla="*/ 38100 w 38100"/>
                <a:gd name="connsiteY4" fmla="*/ 1905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8100" y="19050"/>
                  </a:moveTo>
                  <a:cubicBezTo>
                    <a:pt x="38100" y="29571"/>
                    <a:pt x="29571" y="38100"/>
                    <a:pt x="19050" y="38100"/>
                  </a:cubicBezTo>
                  <a:cubicBezTo>
                    <a:pt x="8529" y="38100"/>
                    <a:pt x="0" y="29571"/>
                    <a:pt x="0" y="19050"/>
                  </a:cubicBezTo>
                  <a:cubicBezTo>
                    <a:pt x="0" y="8529"/>
                    <a:pt x="8529" y="0"/>
                    <a:pt x="19050" y="0"/>
                  </a:cubicBezTo>
                  <a:cubicBezTo>
                    <a:pt x="29571" y="0"/>
                    <a:pt x="38100" y="8529"/>
                    <a:pt x="38100" y="190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CD23C91-1F19-2033-0F82-1791041E6E24}"/>
              </a:ext>
            </a:extLst>
          </p:cNvPr>
          <p:cNvGrpSpPr/>
          <p:nvPr/>
        </p:nvGrpSpPr>
        <p:grpSpPr>
          <a:xfrm>
            <a:off x="7392552" y="2808730"/>
            <a:ext cx="1314450" cy="3019425"/>
            <a:chOff x="7392552" y="2808730"/>
            <a:chExt cx="1314450" cy="3019425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9541F342-707C-99B1-9361-7112D8D1964F}"/>
                </a:ext>
              </a:extLst>
            </p:cNvPr>
            <p:cNvSpPr/>
            <p:nvPr/>
          </p:nvSpPr>
          <p:spPr>
            <a:xfrm>
              <a:off x="7392552" y="2808730"/>
              <a:ext cx="1314450" cy="3019425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11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/>
              <a:endParaRPr lang="en-US"/>
            </a:p>
          </p:txBody>
        </p:sp>
        <p:sp>
          <p:nvSpPr>
            <p:cNvPr id="31" name="Speech Bubble: Rectangle with Corners Rounded 30">
              <a:extLst>
                <a:ext uri="{FF2B5EF4-FFF2-40B4-BE49-F238E27FC236}">
                  <a16:creationId xmlns:a16="http://schemas.microsoft.com/office/drawing/2014/main" id="{E916E1EE-D7C3-DCA8-0489-92F8879440D0}"/>
                </a:ext>
              </a:extLst>
            </p:cNvPr>
            <p:cNvSpPr/>
            <p:nvPr/>
          </p:nvSpPr>
          <p:spPr>
            <a:xfrm>
              <a:off x="7592577" y="3030556"/>
              <a:ext cx="914400" cy="270933"/>
            </a:xfrm>
            <a:prstGeom prst="wedgeRoundRectCallout">
              <a:avLst>
                <a:gd name="adj1" fmla="val -54166"/>
                <a:gd name="adj2" fmla="val 124163"/>
                <a:gd name="adj3" fmla="val 16667"/>
              </a:avLst>
            </a:prstGeom>
            <a:solidFill>
              <a:schemeClr val="accent5"/>
            </a:solidFill>
            <a:ln w="11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/>
              <a:endParaRPr lang="en-US"/>
            </a:p>
          </p:txBody>
        </p:sp>
        <p:sp>
          <p:nvSpPr>
            <p:cNvPr id="32" name="Speech Bubble: Rectangle with Corners Rounded 31">
              <a:extLst>
                <a:ext uri="{FF2B5EF4-FFF2-40B4-BE49-F238E27FC236}">
                  <a16:creationId xmlns:a16="http://schemas.microsoft.com/office/drawing/2014/main" id="{01BD345A-937B-C1C5-9938-E9B63D0821A9}"/>
                </a:ext>
              </a:extLst>
            </p:cNvPr>
            <p:cNvSpPr/>
            <p:nvPr/>
          </p:nvSpPr>
          <p:spPr>
            <a:xfrm flipH="1">
              <a:off x="7611924" y="3630631"/>
              <a:ext cx="914400" cy="388919"/>
            </a:xfrm>
            <a:prstGeom prst="wedgeRoundRectCallout">
              <a:avLst>
                <a:gd name="adj1" fmla="val -54166"/>
                <a:gd name="adj2" fmla="val 124163"/>
                <a:gd name="adj3" fmla="val 16667"/>
              </a:avLst>
            </a:prstGeom>
            <a:solidFill>
              <a:schemeClr val="accent5"/>
            </a:solidFill>
            <a:ln w="11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/>
              <a:endParaRPr lang="en-US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3A5E04D-999D-A552-611F-1F65D3B1A085}"/>
              </a:ext>
            </a:extLst>
          </p:cNvPr>
          <p:cNvGrpSpPr/>
          <p:nvPr/>
        </p:nvGrpSpPr>
        <p:grpSpPr>
          <a:xfrm>
            <a:off x="4019549" y="3020164"/>
            <a:ext cx="2828925" cy="332599"/>
            <a:chOff x="4019550" y="2858276"/>
            <a:chExt cx="2828925" cy="332599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2BDCE480-41AE-334B-D3AC-F3C35753C782}"/>
                </a:ext>
              </a:extLst>
            </p:cNvPr>
            <p:cNvSpPr/>
            <p:nvPr/>
          </p:nvSpPr>
          <p:spPr>
            <a:xfrm>
              <a:off x="4019550" y="2858276"/>
              <a:ext cx="2828925" cy="332599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11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/>
              <a:r>
                <a:rPr lang="en-US" dirty="0">
                  <a:solidFill>
                    <a:schemeClr val="bg1"/>
                  </a:solidFill>
                </a:rPr>
                <a:t>________________________</a:t>
              </a:r>
            </a:p>
          </p:txBody>
        </p:sp>
        <p:pic>
          <p:nvPicPr>
            <p:cNvPr id="6" name="Graphic 5" descr="Magnifying glass with solid fill">
              <a:extLst>
                <a:ext uri="{FF2B5EF4-FFF2-40B4-BE49-F238E27FC236}">
                  <a16:creationId xmlns:a16="http://schemas.microsoft.com/office/drawing/2014/main" id="{F132D7C5-2BF0-548B-3EF8-815F8338585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496049" y="2912368"/>
              <a:ext cx="224413" cy="224413"/>
            </a:xfrm>
            <a:prstGeom prst="rect">
              <a:avLst/>
            </a:prstGeom>
          </p:spPr>
        </p:pic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F1FDDD3-18B4-B37A-BACC-E2D57B400C8A}"/>
              </a:ext>
            </a:extLst>
          </p:cNvPr>
          <p:cNvGrpSpPr/>
          <p:nvPr/>
        </p:nvGrpSpPr>
        <p:grpSpPr>
          <a:xfrm>
            <a:off x="4019548" y="3630631"/>
            <a:ext cx="2828927" cy="1870754"/>
            <a:chOff x="4019548" y="3455483"/>
            <a:chExt cx="2828927" cy="1870754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3457086-9BF0-587B-C69A-0948F2731967}"/>
                </a:ext>
              </a:extLst>
            </p:cNvPr>
            <p:cNvSpPr/>
            <p:nvPr/>
          </p:nvSpPr>
          <p:spPr>
            <a:xfrm>
              <a:off x="4019550" y="4197498"/>
              <a:ext cx="2828925" cy="639781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162" cap="flat">
              <a:noFill/>
              <a:prstDash val="solid"/>
              <a:miter/>
            </a:ln>
          </p:spPr>
          <p:txBody>
            <a:bodyPr rtlCol="0" anchor="t"/>
            <a:lstStyle/>
            <a:p>
              <a:pPr algn="l"/>
              <a:r>
                <a:rPr lang="en-US" sz="10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he refund policy is located|</a:t>
              </a:r>
              <a:r>
                <a:rPr lang="en-US" sz="1000" dirty="0">
                  <a:solidFill>
                    <a:schemeClr val="bg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lang="en-US" sz="1000" dirty="0">
                  <a:solidFill>
                    <a:schemeClr val="tx2">
                      <a:lumMod val="10000"/>
                      <a:lumOff val="90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t https://example.com/refund-policy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189C869A-DCFC-5867-298C-CB0EDBC962BD}"/>
                </a:ext>
              </a:extLst>
            </p:cNvPr>
            <p:cNvSpPr/>
            <p:nvPr/>
          </p:nvSpPr>
          <p:spPr>
            <a:xfrm>
              <a:off x="6181725" y="5114924"/>
              <a:ext cx="666750" cy="21131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1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92F4B90-77FE-DCC8-75B8-438B34821B6E}"/>
                </a:ext>
              </a:extLst>
            </p:cNvPr>
            <p:cNvSpPr/>
            <p:nvPr/>
          </p:nvSpPr>
          <p:spPr>
            <a:xfrm>
              <a:off x="4019549" y="3455483"/>
              <a:ext cx="1733847" cy="21131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1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EEE7234-D86E-418F-3E2B-53873628438C}"/>
                </a:ext>
              </a:extLst>
            </p:cNvPr>
            <p:cNvSpPr/>
            <p:nvPr/>
          </p:nvSpPr>
          <p:spPr>
            <a:xfrm>
              <a:off x="5934075" y="3455483"/>
              <a:ext cx="914400" cy="21131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1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9795C395-85B0-7C6E-5EA4-180341BF105E}"/>
                </a:ext>
              </a:extLst>
            </p:cNvPr>
            <p:cNvSpPr/>
            <p:nvPr/>
          </p:nvSpPr>
          <p:spPr>
            <a:xfrm>
              <a:off x="4019548" y="3766098"/>
              <a:ext cx="1187451" cy="21131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1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/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8017806-00EE-0006-BABB-21F1E7AAD0D1}"/>
                </a:ext>
              </a:extLst>
            </p:cNvPr>
            <p:cNvSpPr/>
            <p:nvPr/>
          </p:nvSpPr>
          <p:spPr>
            <a:xfrm>
              <a:off x="5267325" y="3766098"/>
              <a:ext cx="1578830" cy="21131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1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/>
              <a:endParaRPr lang="en-US"/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DC9E90E5-1D93-BF30-038C-F8BA5783D64B}"/>
              </a:ext>
            </a:extLst>
          </p:cNvPr>
          <p:cNvGrpSpPr/>
          <p:nvPr/>
        </p:nvGrpSpPr>
        <p:grpSpPr>
          <a:xfrm>
            <a:off x="8526324" y="3654125"/>
            <a:ext cx="1791243" cy="498434"/>
            <a:chOff x="8526324" y="3654125"/>
            <a:chExt cx="1791243" cy="498434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BCB09A0-7078-0F29-710B-9960834394FB}"/>
                </a:ext>
              </a:extLst>
            </p:cNvPr>
            <p:cNvSpPr txBox="1"/>
            <p:nvPr/>
          </p:nvSpPr>
          <p:spPr>
            <a:xfrm>
              <a:off x="9440724" y="3654125"/>
              <a:ext cx="876843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20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hat UI</a:t>
              </a: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B9DD743B-164B-EA15-F544-BD9F84A1AC1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526324" y="3825090"/>
              <a:ext cx="789126" cy="327469"/>
            </a:xfrm>
            <a:prstGeom prst="line">
              <a:avLst/>
            </a:prstGeom>
            <a:ln w="28575">
              <a:solidFill>
                <a:schemeClr val="accent6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1F4B2C62-350C-152B-6494-51CC4074B5A1}"/>
              </a:ext>
            </a:extLst>
          </p:cNvPr>
          <p:cNvGrpSpPr/>
          <p:nvPr/>
        </p:nvGrpSpPr>
        <p:grpSpPr>
          <a:xfrm>
            <a:off x="1277283" y="2585421"/>
            <a:ext cx="2932767" cy="615553"/>
            <a:chOff x="1277283" y="2585421"/>
            <a:chExt cx="2932767" cy="615553"/>
          </a:xfrm>
        </p:grpSpPr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BC008D65-D84B-6BB9-C4F3-A963AEE935D5}"/>
                </a:ext>
              </a:extLst>
            </p:cNvPr>
            <p:cNvSpPr txBox="1"/>
            <p:nvPr/>
          </p:nvSpPr>
          <p:spPr>
            <a:xfrm>
              <a:off x="1277283" y="2585421"/>
              <a:ext cx="1099660" cy="6155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20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emantic</a:t>
              </a:r>
            </a:p>
            <a:p>
              <a:pPr algn="ctr"/>
              <a:r>
                <a:rPr lang="en-US" sz="20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search</a:t>
              </a:r>
            </a:p>
          </p:txBody>
        </p: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F28ADB36-61D1-3F20-0AF4-2AAD506E3E3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526457" y="2934316"/>
              <a:ext cx="1683593" cy="231706"/>
            </a:xfrm>
            <a:prstGeom prst="line">
              <a:avLst/>
            </a:prstGeom>
            <a:ln w="28575">
              <a:solidFill>
                <a:schemeClr val="accent6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B63A93C1-DA4F-163C-EB51-0ED525ADA835}"/>
              </a:ext>
            </a:extLst>
          </p:cNvPr>
          <p:cNvGrpSpPr/>
          <p:nvPr/>
        </p:nvGrpSpPr>
        <p:grpSpPr>
          <a:xfrm>
            <a:off x="1171021" y="4810369"/>
            <a:ext cx="3039029" cy="641809"/>
            <a:chOff x="1171021" y="4810369"/>
            <a:chExt cx="3039029" cy="641809"/>
          </a:xfrm>
        </p:grpSpPr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3ACBBF2D-43B7-0DDC-E97C-B7A83986F221}"/>
                </a:ext>
              </a:extLst>
            </p:cNvPr>
            <p:cNvSpPr txBox="1"/>
            <p:nvPr/>
          </p:nvSpPr>
          <p:spPr>
            <a:xfrm>
              <a:off x="1171021" y="4836625"/>
              <a:ext cx="1534079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ext suggestions</a:t>
              </a:r>
            </a:p>
          </p:txBody>
        </p: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8733A195-8FEC-6E1D-C4E4-D42C979E0D2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675971" y="4810369"/>
              <a:ext cx="1534079" cy="243176"/>
            </a:xfrm>
            <a:prstGeom prst="line">
              <a:avLst/>
            </a:prstGeom>
            <a:ln w="28575">
              <a:solidFill>
                <a:schemeClr val="accent6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23751404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02126D-59EF-D780-03B5-076DBCF65E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2684" y="2485571"/>
            <a:ext cx="4973143" cy="1571264"/>
          </a:xfrm>
        </p:spPr>
        <p:txBody>
          <a:bodyPr/>
          <a:lstStyle/>
          <a:p>
            <a:r>
              <a:rPr lang="en-US" dirty="0"/>
              <a:t>Demo:</a:t>
            </a:r>
            <a:br>
              <a:rPr lang="en-US" dirty="0"/>
            </a:br>
            <a:r>
              <a:rPr lang="en-US" dirty="0"/>
              <a:t>Get started with Blazor &amp; AI</a:t>
            </a:r>
          </a:p>
        </p:txBody>
      </p:sp>
    </p:spTree>
    <p:extLst>
      <p:ext uri="{BB962C8B-B14F-4D97-AF65-F5344CB8AC3E}">
        <p14:creationId xmlns:p14="http://schemas.microsoft.com/office/powerpoint/2010/main" val="3458210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41FAD09-30CE-3216-0C3B-9AB3A6AACC9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38469" y="2697756"/>
            <a:ext cx="2915060" cy="276999"/>
          </a:xfrm>
        </p:spPr>
        <p:txBody>
          <a:bodyPr/>
          <a:lstStyle/>
          <a:p>
            <a:r>
              <a:rPr lang="en-US" dirty="0"/>
              <a:t>Smart </a:t>
            </a:r>
            <a:r>
              <a:rPr lang="en-US" dirty="0" err="1"/>
              <a:t>TextArea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38BFF6D-C3CB-CE1E-C7E5-3EAE4DA230D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8469" y="3454284"/>
            <a:ext cx="2915060" cy="984885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sz="1600" dirty="0"/>
              <a:t>Suggest whole sentence autocompletions based on what the user is currently typing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FFE80CD-E707-0678-9305-B3EAB7C5E6D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435554" y="2697756"/>
            <a:ext cx="2915060" cy="276999"/>
          </a:xfrm>
        </p:spPr>
        <p:txBody>
          <a:bodyPr/>
          <a:lstStyle/>
          <a:p>
            <a:r>
              <a:rPr lang="en-US" dirty="0"/>
              <a:t>Smart </a:t>
            </a:r>
            <a:r>
              <a:rPr lang="en-US" dirty="0" err="1"/>
              <a:t>ComboBox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752FCE1-4172-3BFB-B4BC-7B9D5F67CE9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435554" y="3454284"/>
            <a:ext cx="2915060" cy="430887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sz="1600" dirty="0"/>
              <a:t>Search through listed items using semantic matches.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EF60DB-CA20-F9BC-1F5B-8F8D79E3D6F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41384" y="2697756"/>
            <a:ext cx="2915060" cy="276999"/>
          </a:xfrm>
        </p:spPr>
        <p:txBody>
          <a:bodyPr/>
          <a:lstStyle/>
          <a:p>
            <a:r>
              <a:rPr lang="en-US" dirty="0"/>
              <a:t>Smart Past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2860310-6846-9909-36C0-37351E6B4BF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41384" y="3454284"/>
            <a:ext cx="2915060" cy="738664"/>
          </a:xfrm>
        </p:spPr>
        <p:txBody>
          <a:bodyPr/>
          <a:lstStyle/>
          <a:p>
            <a:r>
              <a:rPr lang="en-US" sz="1600" dirty="0"/>
              <a:t>Fill out forms automatically using data from the user's clipboard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AAB80BD-AF02-FA7B-3557-932B80ADC1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.NET Smart Component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6B44F02-C4E6-B5D6-B4F4-80A57A871731}"/>
              </a:ext>
            </a:extLst>
          </p:cNvPr>
          <p:cNvSpPr txBox="1"/>
          <p:nvPr/>
        </p:nvSpPr>
        <p:spPr>
          <a:xfrm>
            <a:off x="4016070" y="5877292"/>
            <a:ext cx="4159857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000" b="1" dirty="0"/>
              <a:t>aka.ms/dotnet/smart-components</a:t>
            </a:r>
          </a:p>
        </p:txBody>
      </p:sp>
    </p:spTree>
    <p:extLst>
      <p:ext uri="{BB962C8B-B14F-4D97-AF65-F5344CB8AC3E}">
        <p14:creationId xmlns:p14="http://schemas.microsoft.com/office/powerpoint/2010/main" val="4204802733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02126D-59EF-D780-03B5-076DBCF65E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2684" y="2485571"/>
            <a:ext cx="6295316" cy="1571264"/>
          </a:xfrm>
        </p:spPr>
        <p:txBody>
          <a:bodyPr/>
          <a:lstStyle/>
          <a:p>
            <a:r>
              <a:rPr lang="en-US" dirty="0"/>
              <a:t>Demo:</a:t>
            </a:r>
            <a:br>
              <a:rPr lang="en-US" dirty="0"/>
            </a:br>
            <a:r>
              <a:rPr lang="en-US" dirty="0"/>
              <a:t>.NET Smart Components</a:t>
            </a:r>
          </a:p>
        </p:txBody>
      </p:sp>
    </p:spTree>
    <p:extLst>
      <p:ext uri="{BB962C8B-B14F-4D97-AF65-F5344CB8AC3E}">
        <p14:creationId xmlns:p14="http://schemas.microsoft.com/office/powerpoint/2010/main" val="4272330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EBA1DDEF-196A-2059-BE30-4567F8EABB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754" y="910732"/>
            <a:ext cx="11060491" cy="830997"/>
          </a:xfrm>
        </p:spPr>
        <p:txBody>
          <a:bodyPr/>
          <a:lstStyle/>
          <a:p>
            <a:r>
              <a:rPr lang="en-US" dirty="0"/>
              <a:t>.NET AI ecosystem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6B01113F-4003-AB82-284B-89B4C2492C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52799" y="2701852"/>
            <a:ext cx="5486400" cy="82296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A9183CFE-BCBA-4BDE-6603-2773D8247A5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779518" y="3854798"/>
            <a:ext cx="4632962" cy="1097280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8AAFA2C0-22B7-2EBC-2B6E-C032BC9B98E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094480" y="5096016"/>
            <a:ext cx="4003038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0207092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E415A8-5761-43D1-9DBE-C48854D87D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11314044" cy="1139825"/>
          </a:xfrm>
        </p:spPr>
        <p:txBody>
          <a:bodyPr/>
          <a:lstStyle/>
          <a:p>
            <a:r>
              <a:rPr lang="en-US" sz="3400" b="1" i="0" dirty="0">
                <a:solidFill>
                  <a:srgbClr val="000000"/>
                </a:solidFill>
                <a:effectLst/>
                <a:latin typeface="+mn-lt"/>
              </a:rPr>
              <a:t>AI Prompt component – Blendin</a:t>
            </a:r>
            <a:r>
              <a:rPr lang="en-US" sz="3400" b="1" dirty="0">
                <a:solidFill>
                  <a:srgbClr val="000000"/>
                </a:solidFill>
                <a:latin typeface="+mn-lt"/>
              </a:rPr>
              <a:t>g </a:t>
            </a:r>
            <a:r>
              <a:rPr lang="en-US" sz="3400" dirty="0">
                <a:solidFill>
                  <a:srgbClr val="000000"/>
                </a:solidFill>
                <a:latin typeface="+mn-lt"/>
              </a:rPr>
              <a:t>AI with UI</a:t>
            </a:r>
            <a:br>
              <a:rPr lang="en-US" dirty="0"/>
            </a:br>
            <a:r>
              <a:rPr lang="en-US" sz="2800" dirty="0">
                <a:solidFill>
                  <a:schemeClr val="accent1"/>
                </a:solidFill>
              </a:rPr>
              <a:t>Available NOW for Telerik .NET MVC &amp; Blazo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AA4587-0D77-4CAA-981F-52092AC3EFE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313" y="1798635"/>
            <a:ext cx="6499269" cy="4365625"/>
          </a:xfrm>
        </p:spPr>
        <p:txBody>
          <a:bodyPr/>
          <a:lstStyle/>
          <a:p>
            <a:r>
              <a:rPr lang="en-US" sz="2000" dirty="0"/>
              <a:t>Created to streamline the integration of your favorite </a:t>
            </a:r>
            <a:r>
              <a:rPr lang="en-US" sz="2000" dirty="0" err="1"/>
              <a:t>GenAI</a:t>
            </a:r>
            <a:r>
              <a:rPr lang="en-US" sz="2000" dirty="0"/>
              <a:t> services into your apps</a:t>
            </a:r>
          </a:p>
          <a:p>
            <a:r>
              <a:rPr lang="en-US" sz="2000" dirty="0"/>
              <a:t>The component sends prompts from the UI and then maps the responses back to the UI</a:t>
            </a:r>
          </a:p>
          <a:p>
            <a:r>
              <a:rPr lang="en-US" sz="2000" dirty="0"/>
              <a:t>Enables three predefined views to interact with: </a:t>
            </a:r>
          </a:p>
          <a:p>
            <a:pPr lvl="1"/>
            <a:r>
              <a:rPr lang="en-US" sz="1600" dirty="0"/>
              <a:t>Prompt, </a:t>
            </a:r>
          </a:p>
          <a:p>
            <a:pPr lvl="1"/>
            <a:r>
              <a:rPr lang="en-US" sz="1600" dirty="0"/>
              <a:t>Output </a:t>
            </a:r>
          </a:p>
          <a:p>
            <a:pPr lvl="1"/>
            <a:r>
              <a:rPr lang="en-US" sz="1600" dirty="0"/>
              <a:t>and Command</a:t>
            </a:r>
          </a:p>
          <a:p>
            <a:r>
              <a:rPr lang="en-US" sz="2000" dirty="0"/>
              <a:t>Fully customizable with templates and events</a:t>
            </a:r>
          </a:p>
          <a:p>
            <a:r>
              <a:rPr lang="en-US" sz="20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Metric"/>
              </a:rPr>
              <a:t>Globalization and Localization</a:t>
            </a:r>
          </a:p>
          <a:p>
            <a:r>
              <a:rPr lang="en-US" sz="20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Metric"/>
              </a:rPr>
              <a:t>Right-to-Left (RTL) Support</a:t>
            </a:r>
          </a:p>
          <a:p>
            <a:endParaRPr lang="en-US" sz="2000" dirty="0"/>
          </a:p>
        </p:txBody>
      </p:sp>
      <p:pic>
        <p:nvPicPr>
          <p:cNvPr id="2050" name="Picture 2" descr="Telerik UI for Blazor AIPrompt-GettingStarted">
            <a:extLst>
              <a:ext uri="{FF2B5EF4-FFF2-40B4-BE49-F238E27FC236}">
                <a16:creationId xmlns:a16="http://schemas.microsoft.com/office/drawing/2014/main" id="{4A2490BB-AEAD-889F-1BA8-15AFDFCA54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8761" y="1798635"/>
            <a:ext cx="4421275" cy="3657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C1DB940-9ED8-8158-7C01-FDFD425CB563}"/>
              </a:ext>
            </a:extLst>
          </p:cNvPr>
          <p:cNvSpPr txBox="1"/>
          <p:nvPr/>
        </p:nvSpPr>
        <p:spPr>
          <a:xfrm>
            <a:off x="3048646" y="6164260"/>
            <a:ext cx="6094708" cy="523220"/>
          </a:xfrm>
          <a:prstGeom prst="rect">
            <a:avLst/>
          </a:prstGeom>
          <a:solidFill>
            <a:schemeClr val="accent6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4EA72E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elerik.com/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srgbClr val="4EA72E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lazor-ui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4EA72E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/ai-prompt</a:t>
            </a:r>
          </a:p>
        </p:txBody>
      </p:sp>
    </p:spTree>
    <p:extLst>
      <p:ext uri="{BB962C8B-B14F-4D97-AF65-F5344CB8AC3E}">
        <p14:creationId xmlns:p14="http://schemas.microsoft.com/office/powerpoint/2010/main" val="21084623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B2B2B2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B2B2B2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B2B2B2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B2B2B2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B2B2B2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B2B2B2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B2B2B2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B2B2B2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B2B2B2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zure 2023 Template">
  <a:themeElements>
    <a:clrScheme name="Custom 22">
      <a:dk1>
        <a:srgbClr val="333333"/>
      </a:dk1>
      <a:lt1>
        <a:srgbClr val="FFFFFF"/>
      </a:lt1>
      <a:dk2>
        <a:srgbClr val="190449"/>
      </a:dk2>
      <a:lt2>
        <a:srgbClr val="FAFAFA"/>
      </a:lt2>
      <a:accent1>
        <a:srgbClr val="4F2BD3"/>
      </a:accent1>
      <a:accent2>
        <a:srgbClr val="D502A9"/>
      </a:accent2>
      <a:accent3>
        <a:srgbClr val="FA94A1"/>
      </a:accent3>
      <a:accent4>
        <a:srgbClr val="CB4150"/>
      </a:accent4>
      <a:accent5>
        <a:srgbClr val="E672CB"/>
      </a:accent5>
      <a:accent6>
        <a:srgbClr val="0B6BFF"/>
      </a:accent6>
      <a:hlink>
        <a:srgbClr val="502AD4"/>
      </a:hlink>
      <a:folHlink>
        <a:srgbClr val="D502AA"/>
      </a:folHlink>
    </a:clrScheme>
    <a:fontScheme name="Custom 4">
      <a:majorFont>
        <a:latin typeface="Segoe Sans Text Semibold"/>
        <a:ea typeface=""/>
        <a:cs typeface=""/>
      </a:majorFont>
      <a:minorFont>
        <a:latin typeface="Segoe Sans Tex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>
          <a:gsLst>
            <a:gs pos="0">
              <a:srgbClr val="E666CC"/>
            </a:gs>
            <a:gs pos="28000">
              <a:srgbClr val="DB64CD"/>
            </a:gs>
            <a:gs pos="77000">
              <a:srgbClr val="BD60D1"/>
            </a:gs>
            <a:gs pos="100000">
              <a:srgbClr val="AE5ED4"/>
            </a:gs>
          </a:gsLst>
          <a:lin ang="0" scaled="1"/>
        </a:gradFill>
        <a:ln w="1162" cap="flat">
          <a:noFill/>
          <a:prstDash val="solid"/>
          <a:miter/>
        </a:ln>
      </a:spPr>
      <a:bodyPr rtlCol="0" anchor="ctr"/>
      <a:lstStyle>
        <a:defPPr algn="l">
          <a:defRPr/>
        </a:defPPr>
      </a:lst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custClrLst>
    <a:custClr name="Light Brown">
      <a:srgbClr val="E1D3C7"/>
    </a:custClr>
    <a:custClr name="Light Yellow">
      <a:srgbClr val="FFE399"/>
    </a:custClr>
    <a:custClr name="Light Orange">
      <a:srgbClr val="FFA38B"/>
    </a:custClr>
    <a:custClr name="Light Red">
      <a:srgbClr val="FFB3BB"/>
    </a:custClr>
    <a:custClr name="Light Magenta">
      <a:srgbClr val="D59ED7"/>
    </a:custClr>
    <a:custClr name="Light Purple">
      <a:srgbClr val="C5B4E3"/>
    </a:custClr>
    <a:custClr name="Light Blue">
      <a:srgbClr val="8DC8E8"/>
    </a:custClr>
    <a:custClr name="Light Teal">
      <a:srgbClr val="B9DCD2"/>
    </a:custClr>
    <a:custClr name="Light Green">
      <a:srgbClr val="D4EC8E"/>
    </a:custClr>
    <a:custClr name="Blue Black">
      <a:srgbClr val="091F2C"/>
    </a:custClr>
    <a:custClr name="Brown">
      <a:srgbClr val="BF9474"/>
    </a:custClr>
    <a:custClr name="Yellow">
      <a:srgbClr val="FFB900"/>
    </a:custClr>
    <a:custClr name="Orange">
      <a:srgbClr val="FF5C39"/>
    </a:custClr>
    <a:custClr name="Red">
      <a:srgbClr val="F4364C"/>
    </a:custClr>
    <a:custClr name="Magenta">
      <a:srgbClr val="C03BC4"/>
    </a:custClr>
    <a:custClr name="Purple">
      <a:srgbClr val="8661C5"/>
    </a:custClr>
    <a:custClr name="Blue">
      <a:srgbClr val="0078D4"/>
    </a:custClr>
    <a:custClr name="Teal">
      <a:srgbClr val="49C5B1"/>
    </a:custClr>
    <a:custClr name="Green">
      <a:srgbClr val="8DE971"/>
    </a:custClr>
    <a:custClr name="Rich Black">
      <a:srgbClr val="000000"/>
    </a:custClr>
    <a:custClr name="Dark Brown">
      <a:srgbClr val="5C4738"/>
    </a:custClr>
    <a:custClr name="Dark Yellow">
      <a:srgbClr val="7F5A1A"/>
    </a:custClr>
    <a:custClr name="Dark Orange">
      <a:srgbClr val="73391D"/>
    </a:custClr>
    <a:custClr name="Dark Red">
      <a:srgbClr val="73262F"/>
    </a:custClr>
    <a:custClr name="Dark Magenta">
      <a:srgbClr val="702573"/>
    </a:custClr>
    <a:custClr name="Dark Purple">
      <a:srgbClr val="463668"/>
    </a:custClr>
    <a:custClr name="Dark Blue">
      <a:srgbClr val="2A446F"/>
    </a:custClr>
    <a:custClr name="Dark Teal">
      <a:srgbClr val="225B62"/>
    </a:custClr>
    <a:custClr name="Dark Green">
      <a:srgbClr val="07641D"/>
    </a:custClr>
    <a:custClr name="Brown Black">
      <a:srgbClr val="291817"/>
    </a:custClr>
    <a:custClr name="Pure White">
      <a:srgbClr val="FFFFFF"/>
    </a:custClr>
    <a:custClr name="Off White">
      <a:srgbClr val="F4F3F5"/>
    </a:custClr>
    <a:custClr name="Warm White">
      <a:srgbClr val="FFF8F3"/>
    </a:custClr>
    <a:custClr name="Warm Light Gray">
      <a:srgbClr val="E8E6DF"/>
    </a:custClr>
    <a:custClr name="Mid Gray">
      <a:srgbClr val="D7D2CB"/>
    </a:custClr>
    <a:custClr name="Warm Gray">
      <a:srgbClr val="8C8279"/>
    </a:custClr>
    <a:custClr name="Light Gray">
      <a:srgbClr val="D9D9D6"/>
    </a:custClr>
    <a:custClr name="Cool Gray">
      <a:srgbClr val="B1B3B3"/>
    </a:custClr>
    <a:custClr name="Dark Gray">
      <a:srgbClr val="454142"/>
    </a:custClr>
    <a:custClr name="Pure White">
      <a:srgbClr val="FFFFFF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</a:custClrLst>
  <a:extLst>
    <a:ext uri="{05A4C25C-085E-4340-85A3-A5531E510DB2}">
      <thm15:themeFamily xmlns:thm15="http://schemas.microsoft.com/office/thememl/2012/main" name="Presentation1" id="{662DC8C9-CFC0-405F-82A1-B248626FCAE6}" vid="{49C91371-712F-49B7-AFEB-59DA86371DF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ABCAF8AA-BEB9-8A40-AE6B-A0181FFFB7C6}" vid="{63C2CA12-BE3C-D049-9B20-F74655612A2E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Light Orange">
      <a:srgbClr val="FF9349"/>
    </a:custClr>
    <a:custClr name="Light Yellow">
      <a:srgbClr val="FEF000"/>
    </a:custClr>
    <a:custClr name="Light Green">
      <a:srgbClr val="9BF00B"/>
    </a:custClr>
    <a:custClr name="Light Teal">
      <a:srgbClr val="30E5D0"/>
    </a:custClr>
    <a:custClr name="Light Blue">
      <a:srgbClr val="50E6FF"/>
    </a:custClr>
    <a:custClr name="Light Purple">
      <a:srgbClr val="D59DFF"/>
    </a:custClr>
    <a:custClr name="White">
      <a:srgbClr val="FFFFFF"/>
    </a:custClr>
    <a:custClr name="Extra Light Gray">
      <a:srgbClr val="F2F2F2"/>
    </a:custClr>
    <a:custClr name="Light Gray">
      <a:srgbClr val="E6E6E6"/>
    </a:custClr>
    <a:custClr name="Gray">
      <a:srgbClr val="D2D2D2"/>
    </a:custClr>
    <a:custClr name="Orange">
      <a:srgbClr val="D83B01"/>
    </a:custClr>
    <a:custClr name="Yellow">
      <a:srgbClr val="FFB900"/>
    </a:custClr>
    <a:custClr name="Green">
      <a:srgbClr val="107C10"/>
    </a:custClr>
    <a:custClr name="Teal">
      <a:srgbClr val="008575"/>
    </a:custClr>
    <a:custClr name="Blue">
      <a:srgbClr val="0078D4"/>
    </a:custClr>
    <a:custClr name="Purple">
      <a:srgbClr val="8661C5"/>
    </a:custClr>
    <a:custClr name="Mid Gray">
      <a:srgbClr val="737373"/>
    </a:custClr>
    <a:custClr name="Dark Gray">
      <a:srgbClr val="505050"/>
    </a:custClr>
    <a:custClr name="Extra Dark Gray">
      <a:srgbClr val="2F2F2F"/>
    </a:custClr>
    <a:custClr name="Rick Black">
      <a:srgbClr val="000000"/>
    </a:custClr>
    <a:custClr name="Dark Orange">
      <a:srgbClr val="6B2929"/>
    </a:custClr>
    <a:custClr name="Dark Yellow">
      <a:srgbClr val="6A4B16"/>
    </a:custClr>
    <a:custClr name="Dark Green">
      <a:srgbClr val="054B16"/>
    </a:custClr>
    <a:custClr name="Dark Teal">
      <a:srgbClr val="274B47"/>
    </a:custClr>
    <a:custClr name="Dark Blue">
      <a:srgbClr val="243A5E"/>
    </a:custClr>
    <a:custClr name="Dark Purple">
      <a:srgbClr val="3B2E58"/>
    </a:custClr>
  </a:custClr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Light Orange">
      <a:srgbClr val="FF9349"/>
    </a:custClr>
    <a:custClr name="Light Yellow">
      <a:srgbClr val="FEF000"/>
    </a:custClr>
    <a:custClr name="Light Green">
      <a:srgbClr val="9BF00B"/>
    </a:custClr>
    <a:custClr name="Light Teal">
      <a:srgbClr val="30E5D0"/>
    </a:custClr>
    <a:custClr name="Light Blue">
      <a:srgbClr val="50E6FF"/>
    </a:custClr>
    <a:custClr name="Light Purple">
      <a:srgbClr val="D59DFF"/>
    </a:custClr>
    <a:custClr name="White">
      <a:srgbClr val="FFFFFF"/>
    </a:custClr>
    <a:custClr name="Extra Light Gray">
      <a:srgbClr val="F2F2F2"/>
    </a:custClr>
    <a:custClr name="Light Gray">
      <a:srgbClr val="E6E6E6"/>
    </a:custClr>
    <a:custClr name="Gray">
      <a:srgbClr val="D2D2D2"/>
    </a:custClr>
    <a:custClr name="Orange">
      <a:srgbClr val="D83B01"/>
    </a:custClr>
    <a:custClr name="Yellow">
      <a:srgbClr val="FFB900"/>
    </a:custClr>
    <a:custClr name="Green">
      <a:srgbClr val="107C10"/>
    </a:custClr>
    <a:custClr name="Teal">
      <a:srgbClr val="008575"/>
    </a:custClr>
    <a:custClr name="Blue">
      <a:srgbClr val="0078D4"/>
    </a:custClr>
    <a:custClr name="Purple">
      <a:srgbClr val="8661C5"/>
    </a:custClr>
    <a:custClr name="Mid Gray">
      <a:srgbClr val="737373"/>
    </a:custClr>
    <a:custClr name="Dark Gray">
      <a:srgbClr val="505050"/>
    </a:custClr>
    <a:custClr name="Extra Dark Gray">
      <a:srgbClr val="2F2F2F"/>
    </a:custClr>
    <a:custClr name="Rick Black">
      <a:srgbClr val="000000"/>
    </a:custClr>
    <a:custClr name="Dark Orange">
      <a:srgbClr val="6B2929"/>
    </a:custClr>
    <a:custClr name="Dark Yellow">
      <a:srgbClr val="6A4B16"/>
    </a:custClr>
    <a:custClr name="Dark Green">
      <a:srgbClr val="054B16"/>
    </a:custClr>
    <a:custClr name="Dark Teal">
      <a:srgbClr val="274B47"/>
    </a:custClr>
    <a:custClr name="Dark Blue">
      <a:srgbClr val="243A5E"/>
    </a:custClr>
    <a:custClr name="Dark Purple">
      <a:srgbClr val="3B2E58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38D393254D930438EAEFA57144E97A1" ma:contentTypeVersion="24" ma:contentTypeDescription="Create a new document." ma:contentTypeScope="" ma:versionID="42d65f33bf2ab003497c6cc5b4152f9a">
  <xsd:schema xmlns:xsd="http://www.w3.org/2001/XMLSchema" xmlns:xs="http://www.w3.org/2001/XMLSchema" xmlns:p="http://schemas.microsoft.com/office/2006/metadata/properties" xmlns:ns1="http://schemas.microsoft.com/sharepoint/v3" xmlns:ns2="ed971524-76e7-40a8-a01a-f99956bd178c" xmlns:ns3="b0e4521d-181b-4aee-b4a8-952b2bc14729" xmlns:ns4="230e9df3-be65-4c73-a93b-d1236ebd677e" targetNamespace="http://schemas.microsoft.com/office/2006/metadata/properties" ma:root="true" ma:fieldsID="a6d2c99abd0e0206120103feb4454f95" ns1:_="" ns2:_="" ns3:_="" ns4:_="">
    <xsd:import namespace="http://schemas.microsoft.com/sharepoint/v3"/>
    <xsd:import namespace="ed971524-76e7-40a8-a01a-f99956bd178c"/>
    <xsd:import namespace="b0e4521d-181b-4aee-b4a8-952b2bc14729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3:LastSharedByUser" minOccurs="0"/>
                <xsd:element ref="ns3:LastSharedByTime" minOccurs="0"/>
                <xsd:element ref="ns2:MediaServiceDateTaken" minOccurs="0"/>
                <xsd:element ref="ns2:MediaServiceAutoTags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1:_ip_UnifiedCompliancePolicyProperties" minOccurs="0"/>
                <xsd:element ref="ns1:_ip_UnifiedCompliancePolicyUIAction" minOccurs="0"/>
                <xsd:element ref="ns2:_Flow_SignoffStatus" minOccurs="0"/>
                <xsd:element ref="ns2:MediaLengthInSeconds" minOccurs="0"/>
                <xsd:element ref="ns2:lcf76f155ced4ddcb4097134ff3c332f" minOccurs="0"/>
                <xsd:element ref="ns4:TaxCatchAll" minOccurs="0"/>
                <xsd:element ref="ns2:MediaServiceSearchProperties" minOccurs="0"/>
                <xsd:element ref="ns2:MediaServiceDocTag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2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3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971524-76e7-40a8-a01a-f99956bd178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MediaServiceAutoTags" ma:internalName="MediaServiceAutoTags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_Flow_SignoffStatus" ma:index="24" nillable="true" ma:displayName="Sign-off status" ma:internalName="Sign_x002d_off_x0020_status">
      <xsd:simpleType>
        <xsd:restriction base="dms:Text"/>
      </xsd:simpleType>
    </xsd:element>
    <xsd:element name="MediaLengthInSeconds" ma:index="25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7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ocTags" ma:index="30" nillable="true" ma:displayName="MediaServiceDocTags" ma:hidden="true" ma:internalName="MediaServiceDocTags" ma:readOnly="true">
      <xsd:simpleType>
        <xsd:restriction base="dms:Note"/>
      </xsd:simpleType>
    </xsd:element>
    <xsd:element name="MediaServiceObjectDetectorVersions" ma:index="3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e4521d-181b-4aee-b4a8-952b2bc14729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2" nillable="true" ma:displayName="Last Shared By User" ma:description="" ma:hidden="true" ma:internalName="LastSharedByUser" ma:readOnly="true">
      <xsd:simpleType>
        <xsd:restriction base="dms:Note"/>
      </xsd:simpleType>
    </xsd:element>
    <xsd:element name="LastSharedByTime" ma:index="13" nillable="true" ma:displayName="Last Shared By Time" ma:description="" ma:hidden="true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8" nillable="true" ma:displayName="Taxonomy Catch All Column" ma:hidden="true" ma:list="{4878c228-8058-4046-9772-52152af8f71f}" ma:internalName="TaxCatchAll" ma:showField="CatchAllData" ma:web="b0e4521d-181b-4aee-b4a8-952b2bc1472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BE60202-E390-4A69-A654-F1C80898ACD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2D3CF7A-86B1-450B-9A61-2957D0C33D1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ed971524-76e7-40a8-a01a-f99956bd178c"/>
    <ds:schemaRef ds:uri="b0e4521d-181b-4aee-b4a8-952b2bc14729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1a19d03a-48bc-4359-8038-5b5f6d5847c3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Microsoft-Azure-PowerPoint-Template</Template>
  <TotalTime>0</TotalTime>
  <Words>636</Words>
  <Application>Microsoft Office PowerPoint</Application>
  <PresentationFormat>Widescreen</PresentationFormat>
  <Paragraphs>98</Paragraphs>
  <Slides>16</Slides>
  <Notes>3</Notes>
  <HiddenSlides>2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33" baseType="lpstr">
      <vt:lpstr>.SF NS</vt:lpstr>
      <vt:lpstr>Aptos</vt:lpstr>
      <vt:lpstr>Aptos Display</vt:lpstr>
      <vt:lpstr>Arial</vt:lpstr>
      <vt:lpstr>Calibri</vt:lpstr>
      <vt:lpstr>Calibri Light</vt:lpstr>
      <vt:lpstr>Helvetica Neue Medium</vt:lpstr>
      <vt:lpstr>Metric</vt:lpstr>
      <vt:lpstr>Open Sans</vt:lpstr>
      <vt:lpstr>Open Sans ExtraBold</vt:lpstr>
      <vt:lpstr>Segoe Sans Text</vt:lpstr>
      <vt:lpstr>Segoe UI</vt:lpstr>
      <vt:lpstr>Wingdings</vt:lpstr>
      <vt:lpstr>Azure 2023 Template</vt:lpstr>
      <vt:lpstr>Office Theme</vt:lpstr>
      <vt:lpstr>1_Office Theme</vt:lpstr>
      <vt:lpstr>think-cell Slide</vt:lpstr>
      <vt:lpstr>Build interactive AI-powered web apps with Blazor &amp; .NET</vt:lpstr>
      <vt:lpstr>PowerPoint Presentation</vt:lpstr>
      <vt:lpstr>Access AI directly from the server with Blazor</vt:lpstr>
      <vt:lpstr>Reusable AI-powered Blazor components</vt:lpstr>
      <vt:lpstr>Demo: Get started with Blazor &amp; AI</vt:lpstr>
      <vt:lpstr>.NET Smart Components</vt:lpstr>
      <vt:lpstr>Demo: .NET Smart Components</vt:lpstr>
      <vt:lpstr>.NET AI ecosystem</vt:lpstr>
      <vt:lpstr>AI Prompt component – Blending AI with UI Available NOW for Telerik .NET MVC &amp; Blazor</vt:lpstr>
      <vt:lpstr>Experimental Smart (AI) Components 🧪</vt:lpstr>
      <vt:lpstr>PowerPoint Presentation</vt:lpstr>
      <vt:lpstr>PowerPoint Presentation</vt:lpstr>
      <vt:lpstr>PowerPoint Presentation</vt:lpstr>
      <vt:lpstr>.NET Conf: Focus on AI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/>
  <cp:keywords/>
  <dc:description/>
  <cp:lastModifiedBy/>
  <cp:revision>1</cp:revision>
  <dcterms:created xsi:type="dcterms:W3CDTF">2024-07-25T02:07:45Z</dcterms:created>
  <dcterms:modified xsi:type="dcterms:W3CDTF">2024-08-05T18:03:59Z</dcterms:modified>
  <cp:category/>
</cp:coreProperties>
</file>